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3"/>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E208898A-C382-4E94-985E-C2D851C9E889}">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7" d="100"/>
          <a:sy n="47" d="100"/>
        </p:scale>
        <p:origin x="48" y="57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notesMaster" Target="notesMasters/notesMaster1.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5/10/relationships/revisionInfo" Target="revisionInfo.xml"/><Relationship Id="rId59"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26574529464262</c:v>
                </c:pt>
                <c:pt idx="3">
                  <c:v>0.0034725365029936576</c:v>
                </c:pt>
                <c:pt idx="4">
                  <c:v>0.0018439494441048283</c:v>
                </c:pt>
                <c:pt idx="5">
                  <c:v>0.0022671840543629514</c:v>
                </c:pt>
                <c:pt idx="6">
                  <c:v>0.0018963805653219572</c:v>
                </c:pt>
                <c:pt idx="7">
                  <c:v>0.005665206533099775</c:v>
                </c:pt>
                <c:pt idx="8">
                  <c:v>0.006726488319613481</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676654634519031</c:v>
                </c:pt>
                <c:pt idx="2">
                  <c:v>0.000594872847455506</c:v>
                </c:pt>
                <c:pt idx="3">
                  <c:v>0.008650589688322628</c:v>
                </c:pt>
                <c:pt idx="4">
                  <c:v>0.0033209441336984396</c:v>
                </c:pt>
                <c:pt idx="5">
                  <c:v>0.008698360866326887</c:v>
                </c:pt>
                <c:pt idx="6">
                  <c:v>0.016342961653318288</c:v>
                </c:pt>
                <c:pt idx="7">
                  <c:v>0.03266522847178794</c:v>
                </c:pt>
                <c:pt idx="8">
                  <c:v>0.032846479531879955</c:v>
                </c:pt>
                <c:pt idx="9">
                  <c:v>0.021186787847783866</c:v>
                </c:pt>
                <c:pt idx="10">
                  <c:v>0.00567263810597987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06087850763705204</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76531424538872</c:v>
                </c:pt>
                <c:pt idx="1">
                  <c:v>0.006484058604671671</c:v>
                </c:pt>
                <c:pt idx="2">
                  <c:v>0.017607473748520872</c:v>
                </c:pt>
                <c:pt idx="3">
                  <c:v>0.0144704216098494</c:v>
                </c:pt>
                <c:pt idx="4">
                  <c:v>0.012628130636830003</c:v>
                </c:pt>
                <c:pt idx="5">
                  <c:v>0.044507068052242346</c:v>
                </c:pt>
                <c:pt idx="6">
                  <c:v>0.05388309462556401</c:v>
                </c:pt>
                <c:pt idx="7">
                  <c:v>0.05930241930010393</c:v>
                </c:pt>
                <c:pt idx="8">
                  <c:v>0.058665760192039416</c:v>
                </c:pt>
                <c:pt idx="9">
                  <c:v>0.07077977380581564</c:v>
                </c:pt>
                <c:pt idx="10">
                  <c:v>0.01671005611599159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143166705241142</c:v>
                </c:pt>
                <c:pt idx="1">
                  <c:v>0.004557672331505151</c:v>
                </c:pt>
                <c:pt idx="2">
                  <c:v>0.003583180860652393</c:v>
                </c:pt>
                <c:pt idx="3">
                  <c:v>0.0038627459064201563</c:v>
                </c:pt>
                <c:pt idx="4">
                  <c:v>0.012700932109422533</c:v>
                </c:pt>
                <c:pt idx="5">
                  <c:v>0.032092645836257816</c:v>
                </c:pt>
                <c:pt idx="6">
                  <c:v>0.028317091343125246</c:v>
                </c:pt>
                <c:pt idx="7">
                  <c:v>0.039559731629814326</c:v>
                </c:pt>
                <c:pt idx="8">
                  <c:v>0.0548241597919585</c:v>
                </c:pt>
                <c:pt idx="9">
                  <c:v>0.03423495783400359</c:v>
                </c:pt>
                <c:pt idx="10">
                  <c:v>0.001237945010831348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5</c:v>
                </c:pt>
                <c:pt idx="3">
                  <c:v>0.043193698660743136</c:v>
                </c:pt>
                <c:pt idx="4">
                  <c:v>0.060866470201537945</c:v>
                </c:pt>
                <c:pt idx="5">
                  <c:v>0.11629275414523581</c:v>
                </c:pt>
                <c:pt idx="6">
                  <c:v>0.14114999538782796</c:v>
                </c:pt>
                <c:pt idx="7">
                  <c:v>0.18708207317322248</c:v>
                </c:pt>
                <c:pt idx="8">
                  <c:v>0.19672272953911324</c:v>
                </c:pt>
                <c:pt idx="9">
                  <c:v>0.14353338057932882</c:v>
                </c:pt>
                <c:pt idx="10">
                  <c:v>0.0266545056269850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536403900010128</c:v>
                </c:pt>
                <c:pt idx="1">
                  <c:v>0.0005926825840111598</c:v>
                </c:pt>
                <c:pt idx="2">
                  <c:v>0.002300763587128022</c:v>
                </c:pt>
                <c:pt idx="3">
                  <c:v>0.0008153503540898862</c:v>
                </c:pt>
                <c:pt idx="4">
                  <c:v>0.004046164696381986</c:v>
                </c:pt>
                <c:pt idx="5">
                  <c:v>0.008077394139565281</c:v>
                </c:pt>
                <c:pt idx="6">
                  <c:v>0.0063320831646094386</c:v>
                </c:pt>
                <c:pt idx="7">
                  <c:v>0.0021962123080222825</c:v>
                </c:pt>
                <c:pt idx="8">
                  <c:v>0.00238328604377292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5919305396859</c:v>
                </c:pt>
                <c:pt idx="3">
                  <c:v>0.38033761780311476</c:v>
                </c:pt>
                <c:pt idx="4">
                  <c:v>0.10777100894814891</c:v>
                </c:pt>
                <c:pt idx="5">
                  <c:v>0.1124391481839141</c:v>
                </c:pt>
                <c:pt idx="6">
                  <c:v>0.005705814164921814</c:v>
                </c:pt>
                <c:pt idx="7">
                  <c:v>0.1841194995714798</c:v>
                </c:pt>
                <c:pt idx="8">
                  <c:v>0.2012064868263113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5919305396859</c:v>
                </c:pt>
                <c:pt idx="3">
                  <c:v>0.38033761780311476</c:v>
                </c:pt>
                <c:pt idx="4">
                  <c:v>0.10777100894814891</c:v>
                </c:pt>
                <c:pt idx="5">
                  <c:v>0.1124391481839141</c:v>
                </c:pt>
                <c:pt idx="6">
                  <c:v>0.005705814164921814</c:v>
                </c:pt>
                <c:pt idx="7">
                  <c:v>0.1841194995714798</c:v>
                </c:pt>
                <c:pt idx="8">
                  <c:v>0.2012064868263113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26282793982235</c:v>
                </c:pt>
                <c:pt idx="1">
                  <c:v>0.0011038921196886058</c:v>
                </c:pt>
                <c:pt idx="2">
                  <c:v>0.0015283985064629766</c:v>
                </c:pt>
                <c:pt idx="3">
                  <c:v>0.24076304159164355</c:v>
                </c:pt>
                <c:pt idx="4">
                  <c:v>0.25076624691744265</c:v>
                </c:pt>
                <c:pt idx="5">
                  <c:v>0.09502257074442175</c:v>
                </c:pt>
                <c:pt idx="6">
                  <c:v>0.01776750922929795</c:v>
                </c:pt>
                <c:pt idx="7">
                  <c:v>0.15862329538353373</c:v>
                </c:pt>
                <c:pt idx="8">
                  <c:v>0.20675803051853367</c:v>
                </c:pt>
                <c:pt idx="9">
                  <c:v>0.0096407321949929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540631649573792</c:v>
                </c:pt>
                <c:pt idx="1">
                  <c:v>0.012093629714621369</c:v>
                </c:pt>
                <c:pt idx="2">
                  <c:v>0.014394612949775013</c:v>
                </c:pt>
                <c:pt idx="3">
                  <c:v>0.07418026880793831</c:v>
                </c:pt>
                <c:pt idx="4">
                  <c:v>0.05471854397776582</c:v>
                </c:pt>
                <c:pt idx="5">
                  <c:v>0.12564688792065343</c:v>
                </c:pt>
                <c:pt idx="6">
                  <c:v>0.11871841643855079</c:v>
                </c:pt>
                <c:pt idx="7">
                  <c:v>0.1886058481026295</c:v>
                </c:pt>
                <c:pt idx="8">
                  <c:v>0.21497156766096434</c:v>
                </c:pt>
                <c:pt idx="9">
                  <c:v>0.11387875955480221</c:v>
                </c:pt>
                <c:pt idx="10">
                  <c:v>0.0682508332227254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409571985291514</c:v>
                </c:pt>
                <c:pt idx="2">
                  <c:v>0.0019994245176096835</c:v>
                </c:pt>
                <c:pt idx="3">
                  <c:v>0.02548103817339042</c:v>
                </c:pt>
                <c:pt idx="4">
                  <c:v>0.01256447630411605</c:v>
                </c:pt>
                <c:pt idx="5">
                  <c:v>0.012446632577484282</c:v>
                </c:pt>
                <c:pt idx="6">
                  <c:v>0.001997102244939829</c:v>
                </c:pt>
                <c:pt idx="7">
                  <c:v>0.02599684976745516</c:v>
                </c:pt>
                <c:pt idx="8">
                  <c:v>0.019105325643529913</c:v>
                </c:pt>
                <c:pt idx="9">
                  <c:v>0.00931225534929994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409571985291514</c:v>
                </c:pt>
                <c:pt idx="2">
                  <c:v>0.0009073061264304924</c:v>
                </c:pt>
                <c:pt idx="5">
                  <c:v>0.005922248151299687</c:v>
                </c:pt>
                <c:pt idx="6">
                  <c:v>0.0008673398137822958</c:v>
                </c:pt>
                <c:pt idx="7">
                  <c:v>0.007358602826013091</c:v>
                </c:pt>
                <c:pt idx="8">
                  <c:v>0.006996148313383869</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8881125428141447</c:v>
                </c:pt>
                <c:pt idx="2">
                  <c:v>0.0006353447740638277</c:v>
                </c:pt>
                <c:pt idx="3">
                  <c:v>0.012692479973678433</c:v>
                </c:pt>
                <c:pt idx="4">
                  <c:v>0.004135578644338727</c:v>
                </c:pt>
                <c:pt idx="5">
                  <c:v>0.01636734294304472</c:v>
                </c:pt>
                <c:pt idx="6">
                  <c:v>0.0185193059409738</c:v>
                </c:pt>
                <c:pt idx="7">
                  <c:v>0.018082556119954254</c:v>
                </c:pt>
                <c:pt idx="8">
                  <c:v>0.04873368735528685</c:v>
                </c:pt>
                <c:pt idx="9">
                  <c:v>0.01512378334538264</c:v>
                </c:pt>
                <c:pt idx="10">
                  <c:v>0.01420333896132244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0911550079734651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275445167769164</c:v>
                </c:pt>
                <c:pt idx="1">
                  <c:v>0.002087630239292433</c:v>
                </c:pt>
                <c:pt idx="2">
                  <c:v>0.007628752805697268</c:v>
                </c:pt>
                <c:pt idx="3">
                  <c:v>0.029492508760570448</c:v>
                </c:pt>
                <c:pt idx="4">
                  <c:v>0.00848564239246522</c:v>
                </c:pt>
                <c:pt idx="5">
                  <c:v>0.03771410875047321</c:v>
                </c:pt>
                <c:pt idx="6">
                  <c:v>0.03775991557888609</c:v>
                </c:pt>
                <c:pt idx="7">
                  <c:v>0.06423632045834789</c:v>
                </c:pt>
                <c:pt idx="8">
                  <c:v>0.04754680862781425</c:v>
                </c:pt>
                <c:pt idx="9">
                  <c:v>0.040933034120885274</c:v>
                </c:pt>
                <c:pt idx="10">
                  <c:v>0.0437205741201451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949713391493337</c:v>
                </c:pt>
                <c:pt idx="2">
                  <c:v>0.0009886146982837744</c:v>
                </c:pt>
                <c:pt idx="3">
                  <c:v>0.004003313604427162</c:v>
                </c:pt>
                <c:pt idx="4">
                  <c:v>0.017559893821513444</c:v>
                </c:pt>
                <c:pt idx="5">
                  <c:v>0.038033792806205384</c:v>
                </c:pt>
                <c:pt idx="6">
                  <c:v>0.02310810512524301</c:v>
                </c:pt>
                <c:pt idx="7">
                  <c:v>0.05072384600494382</c:v>
                </c:pt>
                <c:pt idx="8">
                  <c:v>0.0480740632204597</c:v>
                </c:pt>
                <c:pt idx="9">
                  <c:v>0.03524604960808688</c:v>
                </c:pt>
                <c:pt idx="10">
                  <c:v>0.01027969092083464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95282127739604</c:v>
                </c:pt>
                <c:pt idx="1">
                  <c:v>0.0013983390711078847</c:v>
                </c:pt>
                <c:pt idx="2">
                  <c:v>0.0029907504692355128</c:v>
                </c:pt>
                <c:pt idx="3">
                  <c:v>0.0012188738391815262</c:v>
                </c:pt>
                <c:pt idx="4">
                  <c:v>0.008214220968494296</c:v>
                </c:pt>
                <c:pt idx="5">
                  <c:v>0.013787640542055134</c:v>
                </c:pt>
                <c:pt idx="6">
                  <c:v>0.03197166836631868</c:v>
                </c:pt>
                <c:pt idx="7">
                  <c:v>0.022428550085226828</c:v>
                </c:pt>
                <c:pt idx="8">
                  <c:v>0.05012765474809373</c:v>
                </c:pt>
                <c:pt idx="9">
                  <c:v>0.0122690019409671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540631649573792</c:v>
                </c:pt>
                <c:pt idx="1">
                  <c:v>0.012093629714621369</c:v>
                </c:pt>
                <c:pt idx="2">
                  <c:v>0.014394612949775013</c:v>
                </c:pt>
                <c:pt idx="3">
                  <c:v>0.07418026880793831</c:v>
                </c:pt>
                <c:pt idx="4">
                  <c:v>0.05471854397776582</c:v>
                </c:pt>
                <c:pt idx="5">
                  <c:v>0.12564688792065343</c:v>
                </c:pt>
                <c:pt idx="6">
                  <c:v>0.11871841643855079</c:v>
                </c:pt>
                <c:pt idx="7">
                  <c:v>0.1886058481026295</c:v>
                </c:pt>
                <c:pt idx="8">
                  <c:v>0.21497156766096434</c:v>
                </c:pt>
                <c:pt idx="9">
                  <c:v>0.11387875955480221</c:v>
                </c:pt>
                <c:pt idx="10">
                  <c:v>0.0682508332227254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9472376049886411</c:v>
                </c:pt>
                <c:pt idx="1">
                  <c:v>0.0028538757180742863</c:v>
                </c:pt>
                <c:pt idx="3">
                  <c:v>0.0012920544566903172</c:v>
                </c:pt>
                <c:pt idx="4">
                  <c:v>0.0037587318468380823</c:v>
                </c:pt>
                <c:pt idx="5">
                  <c:v>0.0072973703013907015</c:v>
                </c:pt>
                <c:pt idx="6">
                  <c:v>0.005362319182189386</c:v>
                </c:pt>
                <c:pt idx="7">
                  <c:v>0.007137725666701551</c:v>
                </c:pt>
                <c:pt idx="8">
                  <c:v>0.001384028065779906</c:v>
                </c:pt>
                <c:pt idx="9">
                  <c:v>0.000994635190180372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95282127739604</c:v>
                </c:pt>
                <c:pt idx="1">
                  <c:v>0.0013983390711078847</c:v>
                </c:pt>
                <c:pt idx="2">
                  <c:v>0.0029907504692355128</c:v>
                </c:pt>
                <c:pt idx="3">
                  <c:v>0.0012188738391815262</c:v>
                </c:pt>
                <c:pt idx="4">
                  <c:v>0.008214220968494296</c:v>
                </c:pt>
                <c:pt idx="5">
                  <c:v>0.013787640542055134</c:v>
                </c:pt>
                <c:pt idx="6">
                  <c:v>0.03197166836631868</c:v>
                </c:pt>
                <c:pt idx="7">
                  <c:v>0.022428550085226828</c:v>
                </c:pt>
                <c:pt idx="8">
                  <c:v>0.05012765474809373</c:v>
                </c:pt>
                <c:pt idx="9">
                  <c:v>0.0122690019409671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95282127739604</c:v>
                </c:pt>
                <c:pt idx="1">
                  <c:v>0.0013983390711078847</c:v>
                </c:pt>
                <c:pt idx="2">
                  <c:v>0.0029907504692355128</c:v>
                </c:pt>
                <c:pt idx="3">
                  <c:v>0.0012188738391815262</c:v>
                </c:pt>
                <c:pt idx="4">
                  <c:v>0.008214220968494296</c:v>
                </c:pt>
                <c:pt idx="5">
                  <c:v>0.013787640542055134</c:v>
                </c:pt>
                <c:pt idx="6">
                  <c:v>0.03197166836631868</c:v>
                </c:pt>
                <c:pt idx="7">
                  <c:v>0.022428550085226828</c:v>
                </c:pt>
                <c:pt idx="8">
                  <c:v>0.05012765474809373</c:v>
                </c:pt>
                <c:pt idx="9">
                  <c:v>0.0122690019409671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95282127739604</c:v>
                </c:pt>
                <c:pt idx="1">
                  <c:v>0.0013983390711078847</c:v>
                </c:pt>
                <c:pt idx="2">
                  <c:v>0.0029907504692355128</c:v>
                </c:pt>
                <c:pt idx="3">
                  <c:v>0.0012188738391815262</c:v>
                </c:pt>
                <c:pt idx="4">
                  <c:v>0.008214220968494296</c:v>
                </c:pt>
                <c:pt idx="5">
                  <c:v>0.013787640542055134</c:v>
                </c:pt>
                <c:pt idx="6">
                  <c:v>0.03197166836631868</c:v>
                </c:pt>
                <c:pt idx="7">
                  <c:v>0.022428550085226828</c:v>
                </c:pt>
                <c:pt idx="8">
                  <c:v>0.05012765474809373</c:v>
                </c:pt>
                <c:pt idx="9">
                  <c:v>0.0122690019409671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7402912863983</c:v>
                </c:pt>
                <c:pt idx="2">
                  <c:v>0.04008374234048721</c:v>
                </c:pt>
                <c:pt idx="3">
                  <c:v>0.012276837033556913</c:v>
                </c:pt>
                <c:pt idx="4">
                  <c:v>0.007189571067283759</c:v>
                </c:pt>
                <c:pt idx="5">
                  <c:v>0.013904077409810174</c:v>
                </c:pt>
                <c:pt idx="6">
                  <c:v>0.07182911164645789</c:v>
                </c:pt>
                <c:pt idx="7">
                  <c:v>0.155648172212837</c:v>
                </c:pt>
                <c:pt idx="8">
                  <c:v>0.27976076830036284</c:v>
                </c:pt>
                <c:pt idx="9">
                  <c:v>0.18838515478963205</c:v>
                </c:pt>
                <c:pt idx="10">
                  <c:v>0.225473440358260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7402912863983</c:v>
                </c:pt>
                <c:pt idx="2">
                  <c:v>0.04008374234048721</c:v>
                </c:pt>
                <c:pt idx="3">
                  <c:v>0.012276837033556913</c:v>
                </c:pt>
                <c:pt idx="4">
                  <c:v>0.007189571067283759</c:v>
                </c:pt>
                <c:pt idx="5">
                  <c:v>0.013904077409810174</c:v>
                </c:pt>
                <c:pt idx="6">
                  <c:v>0.07182911164645789</c:v>
                </c:pt>
                <c:pt idx="7">
                  <c:v>0.155648172212837</c:v>
                </c:pt>
                <c:pt idx="8">
                  <c:v>0.27976076830036284</c:v>
                </c:pt>
                <c:pt idx="9">
                  <c:v>0.18838515478963205</c:v>
                </c:pt>
                <c:pt idx="10">
                  <c:v>0.225473440358260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26282793982235</c:v>
                </c:pt>
                <c:pt idx="1">
                  <c:v>0.0011038921196886058</c:v>
                </c:pt>
                <c:pt idx="2">
                  <c:v>0.0015283985064629766</c:v>
                </c:pt>
                <c:pt idx="3">
                  <c:v>0.24076304159164355</c:v>
                </c:pt>
                <c:pt idx="4">
                  <c:v>0.25076624691744265</c:v>
                </c:pt>
                <c:pt idx="5">
                  <c:v>0.09502257074442175</c:v>
                </c:pt>
                <c:pt idx="6">
                  <c:v>0.01776750922929795</c:v>
                </c:pt>
                <c:pt idx="7">
                  <c:v>0.15862329538353373</c:v>
                </c:pt>
                <c:pt idx="8">
                  <c:v>0.20675803051853367</c:v>
                </c:pt>
                <c:pt idx="9">
                  <c:v>0.0096407321949929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26282793982235</c:v>
                </c:pt>
                <c:pt idx="1">
                  <c:v>0.0011038921196886058</c:v>
                </c:pt>
                <c:pt idx="2">
                  <c:v>0.0015283985064629766</c:v>
                </c:pt>
                <c:pt idx="3">
                  <c:v>0.24076304159164355</c:v>
                </c:pt>
                <c:pt idx="4">
                  <c:v>0.25076624691744265</c:v>
                </c:pt>
                <c:pt idx="5">
                  <c:v>0.09502257074442175</c:v>
                </c:pt>
                <c:pt idx="6">
                  <c:v>0.01776750922929795</c:v>
                </c:pt>
                <c:pt idx="7">
                  <c:v>0.15862329538353373</c:v>
                </c:pt>
                <c:pt idx="8">
                  <c:v>0.20675803051853367</c:v>
                </c:pt>
                <c:pt idx="9">
                  <c:v>0.0096407321949929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26282793982235</c:v>
                </c:pt>
                <c:pt idx="1">
                  <c:v>0.0011038921196886058</c:v>
                </c:pt>
                <c:pt idx="2">
                  <c:v>0.0015283985064629766</c:v>
                </c:pt>
                <c:pt idx="3">
                  <c:v>0.24076304159164355</c:v>
                </c:pt>
                <c:pt idx="4">
                  <c:v>0.25076624691744265</c:v>
                </c:pt>
                <c:pt idx="5">
                  <c:v>0.09502257074442175</c:v>
                </c:pt>
                <c:pt idx="6">
                  <c:v>0.01776750922929795</c:v>
                </c:pt>
                <c:pt idx="7">
                  <c:v>0.15862329538353373</c:v>
                </c:pt>
                <c:pt idx="8">
                  <c:v>0.20675803051853367</c:v>
                </c:pt>
                <c:pt idx="9">
                  <c:v>0.0096407321949929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811029660486</c:v>
                </c:pt>
                <c:pt idx="1">
                  <c:v>0.019858810620282625</c:v>
                </c:pt>
                <c:pt idx="2">
                  <c:v>0.02067271489464636</c:v>
                </c:pt>
                <c:pt idx="3">
                  <c:v>0.03816181269444779</c:v>
                </c:pt>
                <c:pt idx="4">
                  <c:v>0.061731993688228556</c:v>
                </c:pt>
                <c:pt idx="5">
                  <c:v>0.09898178660011778</c:v>
                </c:pt>
                <c:pt idx="6">
                  <c:v>0.1331459748175859</c:v>
                </c:pt>
                <c:pt idx="7">
                  <c:v>0.17875425689666183</c:v>
                </c:pt>
                <c:pt idx="8">
                  <c:v>0.24426115458186035</c:v>
                </c:pt>
                <c:pt idx="9">
                  <c:v>0.09503180714688036</c:v>
                </c:pt>
                <c:pt idx="10">
                  <c:v>0.0926915777626836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80757139506778</c:v>
                </c:pt>
                <c:pt idx="1">
                  <c:v>0.002358483306971908</c:v>
                </c:pt>
                <c:pt idx="2">
                  <c:v>0.003619155861541665</c:v>
                </c:pt>
                <c:pt idx="3">
                  <c:v>0.00852886398634107</c:v>
                </c:pt>
                <c:pt idx="4">
                  <c:v>0.017365960190071143</c:v>
                </c:pt>
                <c:pt idx="5">
                  <c:v>0.012773251521041222</c:v>
                </c:pt>
                <c:pt idx="6">
                  <c:v>0.007217092297699922</c:v>
                </c:pt>
                <c:pt idx="7">
                  <c:v>0.02923946021438303</c:v>
                </c:pt>
                <c:pt idx="8">
                  <c:v>0.017446588928085642</c:v>
                </c:pt>
                <c:pt idx="9">
                  <c:v>0.0045061512341818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404972354098087</c:v>
                </c:pt>
                <c:pt idx="4">
                  <c:v>0.004124840229892041</c:v>
                </c:pt>
                <c:pt idx="5">
                  <c:v>0.004353486328891395</c:v>
                </c:pt>
                <c:pt idx="6">
                  <c:v>0.0023692272906042297</c:v>
                </c:pt>
                <c:pt idx="7">
                  <c:v>0.007395838852292196</c:v>
                </c:pt>
                <c:pt idx="8">
                  <c:v>0.0018738036843921483</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6909789866177993</c:v>
                </c:pt>
                <c:pt idx="2">
                  <c:v>0.0010309499796625308</c:v>
                </c:pt>
                <c:pt idx="3">
                  <c:v>0.00779683497677579</c:v>
                </c:pt>
                <c:pt idx="4">
                  <c:v>0.0032249017541451153</c:v>
                </c:pt>
                <c:pt idx="5">
                  <c:v>0.00286534879792313</c:v>
                </c:pt>
                <c:pt idx="6">
                  <c:v>0.024290846603626636</c:v>
                </c:pt>
                <c:pt idx="7">
                  <c:v>0.019420510258136736</c:v>
                </c:pt>
                <c:pt idx="8">
                  <c:v>0.04078651795780649</c:v>
                </c:pt>
                <c:pt idx="9">
                  <c:v>0.01935996060433662</c:v>
                </c:pt>
                <c:pt idx="10">
                  <c:v>0.01398859512941173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1291777799146224</c:v>
                </c:pt>
                <c:pt idx="1">
                  <c:v>0.005686624409962702</c:v>
                </c:pt>
                <c:pt idx="2">
                  <c:v>0.006293599851963095</c:v>
                </c:pt>
                <c:pt idx="3">
                  <c:v>0.014234821872830716</c:v>
                </c:pt>
                <c:pt idx="4">
                  <c:v>0.024931031981426714</c:v>
                </c:pt>
                <c:pt idx="5">
                  <c:v>0.03165845777995008</c:v>
                </c:pt>
                <c:pt idx="6">
                  <c:v>0.037329825317645955</c:v>
                </c:pt>
                <c:pt idx="7">
                  <c:v>0.06550505867346171</c:v>
                </c:pt>
                <c:pt idx="8">
                  <c:v>0.06778455988891151</c:v>
                </c:pt>
                <c:pt idx="9">
                  <c:v>0.017170088511958066</c:v>
                </c:pt>
                <c:pt idx="10">
                  <c:v>0.0731756805049791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57457304010764</c:v>
                </c:pt>
                <c:pt idx="1">
                  <c:v>0.0041015309484930635</c:v>
                </c:pt>
                <c:pt idx="2">
                  <c:v>0.0025290227907755025</c:v>
                </c:pt>
                <c:pt idx="3">
                  <c:v>0.0031845989270525323</c:v>
                </c:pt>
                <c:pt idx="4">
                  <c:v>0.006212020060180097</c:v>
                </c:pt>
                <c:pt idx="5">
                  <c:v>0.0336761629785571</c:v>
                </c:pt>
                <c:pt idx="6">
                  <c:v>0.030721343566524145</c:v>
                </c:pt>
                <c:pt idx="7">
                  <c:v>0.03532135749807683</c:v>
                </c:pt>
                <c:pt idx="8">
                  <c:v>0.05968759127153753</c:v>
                </c:pt>
                <c:pt idx="9">
                  <c:v>0.04215457956427493</c:v>
                </c:pt>
                <c:pt idx="10">
                  <c:v>0.004662377974338328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60078872951177</c:v>
                </c:pt>
                <c:pt idx="1">
                  <c:v>0.003637115850223325</c:v>
                </c:pt>
                <c:pt idx="2">
                  <c:v>0.006578909826824928</c:v>
                </c:pt>
                <c:pt idx="3">
                  <c:v>0.0032052520291563167</c:v>
                </c:pt>
                <c:pt idx="4">
                  <c:v>0.0077894142951063705</c:v>
                </c:pt>
                <c:pt idx="5">
                  <c:v>0.011242338115397885</c:v>
                </c:pt>
                <c:pt idx="6">
                  <c:v>0.02245992421006351</c:v>
                </c:pt>
                <c:pt idx="7">
                  <c:v>0.025536585459540226</c:v>
                </c:pt>
                <c:pt idx="8">
                  <c:v>0.057322794537243184</c:v>
                </c:pt>
                <c:pt idx="9">
                  <c:v>0.01108049892686970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811029660486</c:v>
                </c:pt>
                <c:pt idx="1">
                  <c:v>0.019858810620282625</c:v>
                </c:pt>
                <c:pt idx="2">
                  <c:v>0.02067271489464636</c:v>
                </c:pt>
                <c:pt idx="3">
                  <c:v>0.03816181269444779</c:v>
                </c:pt>
                <c:pt idx="4">
                  <c:v>0.061731993688228556</c:v>
                </c:pt>
                <c:pt idx="5">
                  <c:v>0.09898178660011778</c:v>
                </c:pt>
                <c:pt idx="6">
                  <c:v>0.1331459748175859</c:v>
                </c:pt>
                <c:pt idx="7">
                  <c:v>0.17875425689666183</c:v>
                </c:pt>
                <c:pt idx="8">
                  <c:v>0.24426115458186035</c:v>
                </c:pt>
                <c:pt idx="9">
                  <c:v>0.09503180714688036</c:v>
                </c:pt>
                <c:pt idx="10">
                  <c:v>0.0926915777626836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3216507981344795</c:v>
                </c:pt>
                <c:pt idx="1">
                  <c:v>0.0023840771180138245</c:v>
                </c:pt>
                <c:pt idx="2">
                  <c:v>0.0006210765838786364</c:v>
                </c:pt>
                <c:pt idx="3">
                  <c:v>0.0012114409022913643</c:v>
                </c:pt>
                <c:pt idx="4">
                  <c:v>0.002208665407299118</c:v>
                </c:pt>
                <c:pt idx="5">
                  <c:v>0.006766227407248358</c:v>
                </c:pt>
                <c:pt idx="6">
                  <c:v>0.011126942822025714</c:v>
                </c:pt>
                <c:pt idx="7">
                  <c:v>0.0037312847930632883</c:v>
                </c:pt>
                <c:pt idx="8">
                  <c:v>0.001233101998276001</c:v>
                </c:pt>
                <c:pt idx="9">
                  <c:v>0.000760528305259180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60078872951177</c:v>
                </c:pt>
                <c:pt idx="1">
                  <c:v>0.003637115850223325</c:v>
                </c:pt>
                <c:pt idx="2">
                  <c:v>0.006578909826824928</c:v>
                </c:pt>
                <c:pt idx="3">
                  <c:v>0.0032052520291563167</c:v>
                </c:pt>
                <c:pt idx="4">
                  <c:v>0.0077894142951063705</c:v>
                </c:pt>
                <c:pt idx="5">
                  <c:v>0.011242338115397885</c:v>
                </c:pt>
                <c:pt idx="6">
                  <c:v>0.02245992421006351</c:v>
                </c:pt>
                <c:pt idx="7">
                  <c:v>0.025536585459540226</c:v>
                </c:pt>
                <c:pt idx="8">
                  <c:v>0.057322794537243184</c:v>
                </c:pt>
                <c:pt idx="9">
                  <c:v>0.01108049892686970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60078872951177</c:v>
                </c:pt>
                <c:pt idx="1">
                  <c:v>0.003637115850223325</c:v>
                </c:pt>
                <c:pt idx="2">
                  <c:v>0.006578909826824928</c:v>
                </c:pt>
                <c:pt idx="3">
                  <c:v>0.0032052520291563167</c:v>
                </c:pt>
                <c:pt idx="4">
                  <c:v>0.0077894142951063705</c:v>
                </c:pt>
                <c:pt idx="5">
                  <c:v>0.011242338115397885</c:v>
                </c:pt>
                <c:pt idx="6">
                  <c:v>0.02245992421006351</c:v>
                </c:pt>
                <c:pt idx="7">
                  <c:v>0.025536585459540226</c:v>
                </c:pt>
                <c:pt idx="8">
                  <c:v>0.057322794537243184</c:v>
                </c:pt>
                <c:pt idx="9">
                  <c:v>0.01108049892686970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60078872951177</c:v>
                </c:pt>
                <c:pt idx="1">
                  <c:v>0.003637115850223325</c:v>
                </c:pt>
                <c:pt idx="2">
                  <c:v>0.006578909826824928</c:v>
                </c:pt>
                <c:pt idx="3">
                  <c:v>0.0032052520291563167</c:v>
                </c:pt>
                <c:pt idx="4">
                  <c:v>0.0077894142951063705</c:v>
                </c:pt>
                <c:pt idx="5">
                  <c:v>0.011242338115397885</c:v>
                </c:pt>
                <c:pt idx="6">
                  <c:v>0.02245992421006351</c:v>
                </c:pt>
                <c:pt idx="7">
                  <c:v>0.025536585459540226</c:v>
                </c:pt>
                <c:pt idx="8">
                  <c:v>0.057322794537243184</c:v>
                </c:pt>
                <c:pt idx="9">
                  <c:v>0.01108049892686970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1848985864658</c:v>
                </c:pt>
                <c:pt idx="2">
                  <c:v>0.04538602893418363</c:v>
                </c:pt>
                <c:pt idx="3">
                  <c:v>0.007906538469993625</c:v>
                </c:pt>
                <c:pt idx="4">
                  <c:v>0.005480867425960825</c:v>
                </c:pt>
                <c:pt idx="5">
                  <c:v>0.01542324587261205</c:v>
                </c:pt>
                <c:pt idx="6">
                  <c:v>0.06904094312888083</c:v>
                </c:pt>
                <c:pt idx="7">
                  <c:v>0.15744516134834335</c:v>
                </c:pt>
                <c:pt idx="8">
                  <c:v>0.2739069741414973</c:v>
                </c:pt>
                <c:pt idx="9">
                  <c:v>0.19470656624904822</c:v>
                </c:pt>
                <c:pt idx="10">
                  <c:v>0.225385184570833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1848985864658</c:v>
                </c:pt>
                <c:pt idx="2">
                  <c:v>0.04538602893418363</c:v>
                </c:pt>
                <c:pt idx="3">
                  <c:v>0.007906538469993625</c:v>
                </c:pt>
                <c:pt idx="4">
                  <c:v>0.005480867425960825</c:v>
                </c:pt>
                <c:pt idx="5">
                  <c:v>0.01542324587261205</c:v>
                </c:pt>
                <c:pt idx="6">
                  <c:v>0.06904094312888083</c:v>
                </c:pt>
                <c:pt idx="7">
                  <c:v>0.15744516134834335</c:v>
                </c:pt>
                <c:pt idx="8">
                  <c:v>0.2739069741414973</c:v>
                </c:pt>
                <c:pt idx="9">
                  <c:v>0.19470656624904822</c:v>
                </c:pt>
                <c:pt idx="10">
                  <c:v>0.225385184570833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811029660486</c:v>
                </c:pt>
                <c:pt idx="1">
                  <c:v>0.019858810620282625</c:v>
                </c:pt>
                <c:pt idx="2">
                  <c:v>0.02067271489464636</c:v>
                </c:pt>
                <c:pt idx="3">
                  <c:v>0.03816181269444779</c:v>
                </c:pt>
                <c:pt idx="4">
                  <c:v>0.061731993688228556</c:v>
                </c:pt>
                <c:pt idx="5">
                  <c:v>0.09898178660011778</c:v>
                </c:pt>
                <c:pt idx="6">
                  <c:v>0.1331459748175859</c:v>
                </c:pt>
                <c:pt idx="7">
                  <c:v>0.17875425689666183</c:v>
                </c:pt>
                <c:pt idx="8">
                  <c:v>0.24426115458186035</c:v>
                </c:pt>
                <c:pt idx="9">
                  <c:v>0.09503180714688036</c:v>
                </c:pt>
                <c:pt idx="10">
                  <c:v>0.0926915777626836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1</c:v>
                </c:pt>
                <c:pt idx="6">
                  <c:v>0.0780238118923588</c:v>
                </c:pt>
                <c:pt idx="7">
                  <c:v>0.1151528944769706</c:v>
                </c:pt>
                <c:pt idx="8">
                  <c:v>0.1802110412061716</c:v>
                </c:pt>
                <c:pt idx="9">
                  <c:v>0.0154362399823363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80757139506778</c:v>
                </c:pt>
                <c:pt idx="1">
                  <c:v>0.002358483306971908</c:v>
                </c:pt>
                <c:pt idx="2">
                  <c:v>0.003619155861541665</c:v>
                </c:pt>
                <c:pt idx="3">
                  <c:v>0.00852886398634107</c:v>
                </c:pt>
                <c:pt idx="4">
                  <c:v>0.017365960190071143</c:v>
                </c:pt>
                <c:pt idx="5">
                  <c:v>0.012773251521041222</c:v>
                </c:pt>
                <c:pt idx="6">
                  <c:v>0.007217092297699922</c:v>
                </c:pt>
                <c:pt idx="7">
                  <c:v>0.02923946021438303</c:v>
                </c:pt>
                <c:pt idx="8">
                  <c:v>0.017446588928085642</c:v>
                </c:pt>
                <c:pt idx="9">
                  <c:v>0.0045061512341818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1</c:v>
                </c:pt>
                <c:pt idx="6">
                  <c:v>0.0780238118923588</c:v>
                </c:pt>
                <c:pt idx="7">
                  <c:v>0.1151528944769706</c:v>
                </c:pt>
                <c:pt idx="8">
                  <c:v>0.1802110412061716</c:v>
                </c:pt>
                <c:pt idx="9">
                  <c:v>0.0154362399823363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6167359067666416</c:v>
                </c:pt>
                <c:pt idx="3">
                  <c:v>0.0007205909721310282</c:v>
                </c:pt>
                <c:pt idx="4">
                  <c:v>0.001046146064512113</c:v>
                </c:pt>
                <c:pt idx="5">
                  <c:v>0.0027907972627108997</c:v>
                </c:pt>
                <c:pt idx="7">
                  <c:v>0.006773011744689179</c:v>
                </c:pt>
                <c:pt idx="8">
                  <c:v>0.006624483461615097</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6909789866177993</c:v>
                </c:pt>
                <c:pt idx="2">
                  <c:v>0.0010309499796625308</c:v>
                </c:pt>
                <c:pt idx="3">
                  <c:v>0.00779683497677579</c:v>
                </c:pt>
                <c:pt idx="4">
                  <c:v>0.0032249017541451153</c:v>
                </c:pt>
                <c:pt idx="5">
                  <c:v>0.00286534879792313</c:v>
                </c:pt>
                <c:pt idx="6">
                  <c:v>0.024290846603626636</c:v>
                </c:pt>
                <c:pt idx="7">
                  <c:v>0.019420510258136736</c:v>
                </c:pt>
                <c:pt idx="8">
                  <c:v>0.04078651795780649</c:v>
                </c:pt>
                <c:pt idx="9">
                  <c:v>0.01935996060433662</c:v>
                </c:pt>
                <c:pt idx="10">
                  <c:v>0.01398859512941173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5</c:v>
                </c:pt>
                <c:pt idx="3">
                  <c:v>0.043193698660743136</c:v>
                </c:pt>
                <c:pt idx="4">
                  <c:v>0.060866470201537945</c:v>
                </c:pt>
                <c:pt idx="5">
                  <c:v>0.11629275414523581</c:v>
                </c:pt>
                <c:pt idx="6">
                  <c:v>0.14114999538782796</c:v>
                </c:pt>
                <c:pt idx="7">
                  <c:v>0.18708207317322248</c:v>
                </c:pt>
                <c:pt idx="8">
                  <c:v>0.19672272953911324</c:v>
                </c:pt>
                <c:pt idx="9">
                  <c:v>0.14353338057932882</c:v>
                </c:pt>
                <c:pt idx="10">
                  <c:v>0.0266545056269850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11314270013406</c:v>
                </c:pt>
                <c:pt idx="1">
                  <c:v>0.004948769557768145</c:v>
                </c:pt>
                <c:pt idx="2">
                  <c:v>0.0037158044669079945</c:v>
                </c:pt>
                <c:pt idx="3">
                  <c:v>0.011783536209714679</c:v>
                </c:pt>
                <c:pt idx="4">
                  <c:v>0.01802717058757774</c:v>
                </c:pt>
                <c:pt idx="5">
                  <c:v>0.010869254450006912</c:v>
                </c:pt>
                <c:pt idx="6">
                  <c:v>0.010434324914567557</c:v>
                </c:pt>
                <c:pt idx="7">
                  <c:v>0.02133951590923541</c:v>
                </c:pt>
                <c:pt idx="8">
                  <c:v>0.020339809368483234</c:v>
                </c:pt>
                <c:pt idx="9">
                  <c:v>0.0022830431841173848</c:v>
                </c:pt>
                <c:pt idx="10">
                  <c:v>0.00123433963890649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33505707366851</c:v>
                </c:pt>
                <c:pt idx="4">
                  <c:v>0.007984190768593007</c:v>
                </c:pt>
                <c:pt idx="5">
                  <c:v>0.0037744728815551137</c:v>
                </c:pt>
                <c:pt idx="6">
                  <c:v>0.0034438242223271344</c:v>
                </c:pt>
                <c:pt idx="7">
                  <c:v>0.00436629017630431</c:v>
                </c:pt>
                <c:pt idx="8">
                  <c:v>0.0019560900311123767</c:v>
                </c:pt>
                <c:pt idx="9">
                  <c:v>0.001514098473415222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676654634519031</c:v>
                </c:pt>
                <c:pt idx="2">
                  <c:v>0.000594872847455506</c:v>
                </c:pt>
                <c:pt idx="3">
                  <c:v>0.008650589688322628</c:v>
                </c:pt>
                <c:pt idx="4">
                  <c:v>0.0033209441336984396</c:v>
                </c:pt>
                <c:pt idx="5">
                  <c:v>0.008698360866326887</c:v>
                </c:pt>
                <c:pt idx="6">
                  <c:v>0.016342961653318288</c:v>
                </c:pt>
                <c:pt idx="7">
                  <c:v>0.03266522847178794</c:v>
                </c:pt>
                <c:pt idx="8">
                  <c:v>0.032846479531879955</c:v>
                </c:pt>
                <c:pt idx="9">
                  <c:v>0.021186787847783866</c:v>
                </c:pt>
                <c:pt idx="10">
                  <c:v>0.00567263810597987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76531424538872</c:v>
                </c:pt>
                <c:pt idx="1">
                  <c:v>0.006484058604671671</c:v>
                </c:pt>
                <c:pt idx="2">
                  <c:v>0.017607473748520872</c:v>
                </c:pt>
                <c:pt idx="3">
                  <c:v>0.0144704216098494</c:v>
                </c:pt>
                <c:pt idx="4">
                  <c:v>0.012628130636830003</c:v>
                </c:pt>
                <c:pt idx="5">
                  <c:v>0.044507068052242346</c:v>
                </c:pt>
                <c:pt idx="6">
                  <c:v>0.05388309462556401</c:v>
                </c:pt>
                <c:pt idx="7">
                  <c:v>0.05930241930010393</c:v>
                </c:pt>
                <c:pt idx="8">
                  <c:v>0.058665760192039416</c:v>
                </c:pt>
                <c:pt idx="9">
                  <c:v>0.07077977380581564</c:v>
                </c:pt>
                <c:pt idx="10">
                  <c:v>0.01671005611599159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143166705241142</c:v>
                </c:pt>
                <c:pt idx="1">
                  <c:v>0.004557672331505151</c:v>
                </c:pt>
                <c:pt idx="2">
                  <c:v>0.003583180860652393</c:v>
                </c:pt>
                <c:pt idx="3">
                  <c:v>0.0038627459064201563</c:v>
                </c:pt>
                <c:pt idx="4">
                  <c:v>0.012700932109422533</c:v>
                </c:pt>
                <c:pt idx="5">
                  <c:v>0.032092645836257816</c:v>
                </c:pt>
                <c:pt idx="6">
                  <c:v>0.028317091343125246</c:v>
                </c:pt>
                <c:pt idx="7">
                  <c:v>0.039559731629814326</c:v>
                </c:pt>
                <c:pt idx="8">
                  <c:v>0.0548241597919585</c:v>
                </c:pt>
                <c:pt idx="9">
                  <c:v>0.03423495783400359</c:v>
                </c:pt>
                <c:pt idx="10">
                  <c:v>0.001237945010831348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0643602554002264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5</c:v>
                </c:pt>
                <c:pt idx="3">
                  <c:v>0.043193698660743136</c:v>
                </c:pt>
                <c:pt idx="4">
                  <c:v>0.060866470201537945</c:v>
                </c:pt>
                <c:pt idx="5">
                  <c:v>0.11629275414523581</c:v>
                </c:pt>
                <c:pt idx="6">
                  <c:v>0.14114999538782796</c:v>
                </c:pt>
                <c:pt idx="7">
                  <c:v>0.18708207317322248</c:v>
                </c:pt>
                <c:pt idx="8">
                  <c:v>0.19672272953911324</c:v>
                </c:pt>
                <c:pt idx="9">
                  <c:v>0.14353338057932882</c:v>
                </c:pt>
                <c:pt idx="10">
                  <c:v>0.0266545056269850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536403900010128</c:v>
                </c:pt>
                <c:pt idx="1">
                  <c:v>0.0005926825840111598</c:v>
                </c:pt>
                <c:pt idx="2">
                  <c:v>0.002300763587128022</c:v>
                </c:pt>
                <c:pt idx="3">
                  <c:v>0.0008153503540898862</c:v>
                </c:pt>
                <c:pt idx="4">
                  <c:v>0.004046164696381986</c:v>
                </c:pt>
                <c:pt idx="5">
                  <c:v>0.008077394139565281</c:v>
                </c:pt>
                <c:pt idx="6">
                  <c:v>0.0063320831646094386</c:v>
                </c:pt>
                <c:pt idx="7">
                  <c:v>0.0021962123080222825</c:v>
                </c:pt>
                <c:pt idx="8">
                  <c:v>0.00238328604377292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1291777799146224</c:v>
                </c:pt>
                <c:pt idx="1">
                  <c:v>0.005686624409962702</c:v>
                </c:pt>
                <c:pt idx="2">
                  <c:v>0.006293599851963095</c:v>
                </c:pt>
                <c:pt idx="3">
                  <c:v>0.014234821872830716</c:v>
                </c:pt>
                <c:pt idx="4">
                  <c:v>0.024931031981426714</c:v>
                </c:pt>
                <c:pt idx="5">
                  <c:v>0.03165845777995008</c:v>
                </c:pt>
                <c:pt idx="6">
                  <c:v>0.037329825317645955</c:v>
                </c:pt>
                <c:pt idx="7">
                  <c:v>0.06550505867346171</c:v>
                </c:pt>
                <c:pt idx="8">
                  <c:v>0.06778455988891151</c:v>
                </c:pt>
                <c:pt idx="9">
                  <c:v>0.017170088511958066</c:v>
                </c:pt>
                <c:pt idx="10">
                  <c:v>0.0731756805049791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5919305396859</c:v>
                </c:pt>
                <c:pt idx="3">
                  <c:v>0.38033761780311476</c:v>
                </c:pt>
                <c:pt idx="4">
                  <c:v>0.10777100894814891</c:v>
                </c:pt>
                <c:pt idx="5">
                  <c:v>0.1124391481839141</c:v>
                </c:pt>
                <c:pt idx="6">
                  <c:v>0.005705814164921814</c:v>
                </c:pt>
                <c:pt idx="7">
                  <c:v>0.1841194995714798</c:v>
                </c:pt>
                <c:pt idx="8">
                  <c:v>0.2012064868263113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5919305396859</c:v>
                </c:pt>
                <c:pt idx="3">
                  <c:v>0.38033761780311476</c:v>
                </c:pt>
                <c:pt idx="4">
                  <c:v>0.10777100894814891</c:v>
                </c:pt>
                <c:pt idx="5">
                  <c:v>0.1124391481839141</c:v>
                </c:pt>
                <c:pt idx="6">
                  <c:v>0.005705814164921814</c:v>
                </c:pt>
                <c:pt idx="7">
                  <c:v>0.1841194995714798</c:v>
                </c:pt>
                <c:pt idx="8">
                  <c:v>0.2012064868263113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57457304010764</c:v>
                </c:pt>
                <c:pt idx="1">
                  <c:v>0.0041015309484930635</c:v>
                </c:pt>
                <c:pt idx="2">
                  <c:v>0.0025290227907755025</c:v>
                </c:pt>
                <c:pt idx="3">
                  <c:v>0.0031845989270525323</c:v>
                </c:pt>
                <c:pt idx="4">
                  <c:v>0.006212020060180097</c:v>
                </c:pt>
                <c:pt idx="5">
                  <c:v>0.0336761629785571</c:v>
                </c:pt>
                <c:pt idx="6">
                  <c:v>0.030721343566524145</c:v>
                </c:pt>
                <c:pt idx="7">
                  <c:v>0.03532135749807683</c:v>
                </c:pt>
                <c:pt idx="8">
                  <c:v>0.05968759127153753</c:v>
                </c:pt>
                <c:pt idx="9">
                  <c:v>0.04215457956427493</c:v>
                </c:pt>
                <c:pt idx="10">
                  <c:v>0.004662377974338328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540631649573792</c:v>
                </c:pt>
                <c:pt idx="1">
                  <c:v>0.012093629714621369</c:v>
                </c:pt>
                <c:pt idx="2">
                  <c:v>0.014394612949775013</c:v>
                </c:pt>
                <c:pt idx="3">
                  <c:v>0.07418026880793831</c:v>
                </c:pt>
                <c:pt idx="4">
                  <c:v>0.05471854397776582</c:v>
                </c:pt>
                <c:pt idx="5">
                  <c:v>0.12564688792065343</c:v>
                </c:pt>
                <c:pt idx="6">
                  <c:v>0.11871841643855079</c:v>
                </c:pt>
                <c:pt idx="7">
                  <c:v>0.1886058481026295</c:v>
                </c:pt>
                <c:pt idx="8">
                  <c:v>0.21497156766096434</c:v>
                </c:pt>
                <c:pt idx="9">
                  <c:v>0.11387875955480221</c:v>
                </c:pt>
                <c:pt idx="10">
                  <c:v>0.0682508332227254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409571985291514</c:v>
                </c:pt>
                <c:pt idx="2">
                  <c:v>0.0019994245176096835</c:v>
                </c:pt>
                <c:pt idx="3">
                  <c:v>0.02548103817339042</c:v>
                </c:pt>
                <c:pt idx="4">
                  <c:v>0.01256447630411605</c:v>
                </c:pt>
                <c:pt idx="5">
                  <c:v>0.012446632577484282</c:v>
                </c:pt>
                <c:pt idx="6">
                  <c:v>0.001997102244939829</c:v>
                </c:pt>
                <c:pt idx="7">
                  <c:v>0.02599684976745516</c:v>
                </c:pt>
                <c:pt idx="8">
                  <c:v>0.019105325643529913</c:v>
                </c:pt>
                <c:pt idx="9">
                  <c:v>0.00931225534929994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10911140082494788</c:v>
                </c:pt>
                <c:pt idx="3">
                  <c:v>0.008893067715346174</c:v>
                </c:pt>
                <c:pt idx="4">
                  <c:v>0.010190266006000218</c:v>
                </c:pt>
                <c:pt idx="6">
                  <c:v>0.001123567768810696</c:v>
                </c:pt>
                <c:pt idx="7">
                  <c:v>0.01099924710758907</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8881125428141447</c:v>
                </c:pt>
                <c:pt idx="2">
                  <c:v>0.0006353447740638277</c:v>
                </c:pt>
                <c:pt idx="3">
                  <c:v>0.012692479973678433</c:v>
                </c:pt>
                <c:pt idx="4">
                  <c:v>0.004135578644338727</c:v>
                </c:pt>
                <c:pt idx="5">
                  <c:v>0.01636734294304472</c:v>
                </c:pt>
                <c:pt idx="6">
                  <c:v>0.0185193059409738</c:v>
                </c:pt>
                <c:pt idx="7">
                  <c:v>0.018082556119954254</c:v>
                </c:pt>
                <c:pt idx="8">
                  <c:v>0.04873368735528685</c:v>
                </c:pt>
                <c:pt idx="9">
                  <c:v>0.01512378334538264</c:v>
                </c:pt>
                <c:pt idx="10">
                  <c:v>0.01420333896132244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275445167769164</c:v>
                </c:pt>
                <c:pt idx="1">
                  <c:v>0.002087630239292433</c:v>
                </c:pt>
                <c:pt idx="2">
                  <c:v>0.007628752805697268</c:v>
                </c:pt>
                <c:pt idx="3">
                  <c:v>0.029492508760570448</c:v>
                </c:pt>
                <c:pt idx="4">
                  <c:v>0.00848564239246522</c:v>
                </c:pt>
                <c:pt idx="5">
                  <c:v>0.03771410875047321</c:v>
                </c:pt>
                <c:pt idx="6">
                  <c:v>0.03775991557888609</c:v>
                </c:pt>
                <c:pt idx="7">
                  <c:v>0.06423632045834789</c:v>
                </c:pt>
                <c:pt idx="8">
                  <c:v>0.04754680862781425</c:v>
                </c:pt>
                <c:pt idx="9">
                  <c:v>0.040933034120885274</c:v>
                </c:pt>
                <c:pt idx="10">
                  <c:v>0.0437205741201451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949713391493337</c:v>
                </c:pt>
                <c:pt idx="2">
                  <c:v>0.0009886146982837744</c:v>
                </c:pt>
                <c:pt idx="3">
                  <c:v>0.004003313604427162</c:v>
                </c:pt>
                <c:pt idx="4">
                  <c:v>0.017559893821513444</c:v>
                </c:pt>
                <c:pt idx="5">
                  <c:v>0.038033792806205384</c:v>
                </c:pt>
                <c:pt idx="6">
                  <c:v>0.02310810512524301</c:v>
                </c:pt>
                <c:pt idx="7">
                  <c:v>0.05072384600494382</c:v>
                </c:pt>
                <c:pt idx="8">
                  <c:v>0.0480740632204597</c:v>
                </c:pt>
                <c:pt idx="9">
                  <c:v>0.03524604960808688</c:v>
                </c:pt>
                <c:pt idx="10">
                  <c:v>0.01027969092083464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95282127739604</c:v>
                </c:pt>
                <c:pt idx="1">
                  <c:v>0.0013983390711078847</c:v>
                </c:pt>
                <c:pt idx="2">
                  <c:v>0.0029907504692355128</c:v>
                </c:pt>
                <c:pt idx="3">
                  <c:v>0.0012188738391815262</c:v>
                </c:pt>
                <c:pt idx="4">
                  <c:v>0.008214220968494296</c:v>
                </c:pt>
                <c:pt idx="5">
                  <c:v>0.013787640542055134</c:v>
                </c:pt>
                <c:pt idx="6">
                  <c:v>0.03197166836631868</c:v>
                </c:pt>
                <c:pt idx="7">
                  <c:v>0.022428550085226828</c:v>
                </c:pt>
                <c:pt idx="8">
                  <c:v>0.05012765474809373</c:v>
                </c:pt>
                <c:pt idx="9">
                  <c:v>0.0122690019409671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60078872951177</c:v>
                </c:pt>
                <c:pt idx="1">
                  <c:v>0.003637115850223325</c:v>
                </c:pt>
                <c:pt idx="2">
                  <c:v>0.006578909826824928</c:v>
                </c:pt>
                <c:pt idx="3">
                  <c:v>0.0032052520291563167</c:v>
                </c:pt>
                <c:pt idx="4">
                  <c:v>0.0077894142951063705</c:v>
                </c:pt>
                <c:pt idx="5">
                  <c:v>0.011242338115397885</c:v>
                </c:pt>
                <c:pt idx="6">
                  <c:v>0.02245992421006351</c:v>
                </c:pt>
                <c:pt idx="7">
                  <c:v>0.025536585459540226</c:v>
                </c:pt>
                <c:pt idx="8">
                  <c:v>0.057322794537243184</c:v>
                </c:pt>
                <c:pt idx="9">
                  <c:v>0.01108049892686970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540631649573792</c:v>
                </c:pt>
                <c:pt idx="1">
                  <c:v>0.012093629714621369</c:v>
                </c:pt>
                <c:pt idx="2">
                  <c:v>0.014394612949775013</c:v>
                </c:pt>
                <c:pt idx="3">
                  <c:v>0.07418026880793831</c:v>
                </c:pt>
                <c:pt idx="4">
                  <c:v>0.05471854397776582</c:v>
                </c:pt>
                <c:pt idx="5">
                  <c:v>0.12564688792065343</c:v>
                </c:pt>
                <c:pt idx="6">
                  <c:v>0.11871841643855079</c:v>
                </c:pt>
                <c:pt idx="7">
                  <c:v>0.1886058481026295</c:v>
                </c:pt>
                <c:pt idx="8">
                  <c:v>0.21497156766096434</c:v>
                </c:pt>
                <c:pt idx="9">
                  <c:v>0.11387875955480221</c:v>
                </c:pt>
                <c:pt idx="10">
                  <c:v>0.0682508332227254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9472376049886411</c:v>
                </c:pt>
                <c:pt idx="1">
                  <c:v>0.0028538757180742863</c:v>
                </c:pt>
                <c:pt idx="3">
                  <c:v>0.0012920544566903172</c:v>
                </c:pt>
                <c:pt idx="4">
                  <c:v>0.0037587318468380823</c:v>
                </c:pt>
                <c:pt idx="5">
                  <c:v>0.0072973703013907015</c:v>
                </c:pt>
                <c:pt idx="6">
                  <c:v>0.005362319182189386</c:v>
                </c:pt>
                <c:pt idx="7">
                  <c:v>0.007137725666701551</c:v>
                </c:pt>
                <c:pt idx="8">
                  <c:v>0.001384028065779906</c:v>
                </c:pt>
                <c:pt idx="9">
                  <c:v>0.000994635190180372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95282127739604</c:v>
                </c:pt>
                <c:pt idx="1">
                  <c:v>0.0013983390711078847</c:v>
                </c:pt>
                <c:pt idx="2">
                  <c:v>0.0029907504692355128</c:v>
                </c:pt>
                <c:pt idx="3">
                  <c:v>0.0012188738391815262</c:v>
                </c:pt>
                <c:pt idx="4">
                  <c:v>0.008214220968494296</c:v>
                </c:pt>
                <c:pt idx="5">
                  <c:v>0.013787640542055134</c:v>
                </c:pt>
                <c:pt idx="6">
                  <c:v>0.03197166836631868</c:v>
                </c:pt>
                <c:pt idx="7">
                  <c:v>0.022428550085226828</c:v>
                </c:pt>
                <c:pt idx="8">
                  <c:v>0.05012765474809373</c:v>
                </c:pt>
                <c:pt idx="9">
                  <c:v>0.0122690019409671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95282127739604</c:v>
                </c:pt>
                <c:pt idx="1">
                  <c:v>0.0013983390711078847</c:v>
                </c:pt>
                <c:pt idx="2">
                  <c:v>0.0029907504692355128</c:v>
                </c:pt>
                <c:pt idx="3">
                  <c:v>0.0012188738391815262</c:v>
                </c:pt>
                <c:pt idx="4">
                  <c:v>0.008214220968494296</c:v>
                </c:pt>
                <c:pt idx="5">
                  <c:v>0.013787640542055134</c:v>
                </c:pt>
                <c:pt idx="6">
                  <c:v>0.03197166836631868</c:v>
                </c:pt>
                <c:pt idx="7">
                  <c:v>0.022428550085226828</c:v>
                </c:pt>
                <c:pt idx="8">
                  <c:v>0.05012765474809373</c:v>
                </c:pt>
                <c:pt idx="9">
                  <c:v>0.0122690019409671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95282127739604</c:v>
                </c:pt>
                <c:pt idx="1">
                  <c:v>0.0013983390711078847</c:v>
                </c:pt>
                <c:pt idx="2">
                  <c:v>0.0029907504692355128</c:v>
                </c:pt>
                <c:pt idx="3">
                  <c:v>0.0012188738391815262</c:v>
                </c:pt>
                <c:pt idx="4">
                  <c:v>0.008214220968494296</c:v>
                </c:pt>
                <c:pt idx="5">
                  <c:v>0.013787640542055134</c:v>
                </c:pt>
                <c:pt idx="6">
                  <c:v>0.03197166836631868</c:v>
                </c:pt>
                <c:pt idx="7">
                  <c:v>0.022428550085226828</c:v>
                </c:pt>
                <c:pt idx="8">
                  <c:v>0.05012765474809373</c:v>
                </c:pt>
                <c:pt idx="9">
                  <c:v>0.0122690019409671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7402912863983</c:v>
                </c:pt>
                <c:pt idx="2">
                  <c:v>0.04008374234048721</c:v>
                </c:pt>
                <c:pt idx="3">
                  <c:v>0.012276837033556913</c:v>
                </c:pt>
                <c:pt idx="4">
                  <c:v>0.007189571067283759</c:v>
                </c:pt>
                <c:pt idx="5">
                  <c:v>0.013904077409810174</c:v>
                </c:pt>
                <c:pt idx="6">
                  <c:v>0.07182911164645789</c:v>
                </c:pt>
                <c:pt idx="7">
                  <c:v>0.155648172212837</c:v>
                </c:pt>
                <c:pt idx="8">
                  <c:v>0.27976076830036284</c:v>
                </c:pt>
                <c:pt idx="9">
                  <c:v>0.18838515478963205</c:v>
                </c:pt>
                <c:pt idx="10">
                  <c:v>0.225473440358260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7402912863983</c:v>
                </c:pt>
                <c:pt idx="2">
                  <c:v>0.04008374234048721</c:v>
                </c:pt>
                <c:pt idx="3">
                  <c:v>0.012276837033556913</c:v>
                </c:pt>
                <c:pt idx="4">
                  <c:v>0.007189571067283759</c:v>
                </c:pt>
                <c:pt idx="5">
                  <c:v>0.013904077409810174</c:v>
                </c:pt>
                <c:pt idx="6">
                  <c:v>0.07182911164645789</c:v>
                </c:pt>
                <c:pt idx="7">
                  <c:v>0.155648172212837</c:v>
                </c:pt>
                <c:pt idx="8">
                  <c:v>0.27976076830036284</c:v>
                </c:pt>
                <c:pt idx="9">
                  <c:v>0.18838515478963205</c:v>
                </c:pt>
                <c:pt idx="10">
                  <c:v>0.225473440358260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811029660486</c:v>
                </c:pt>
                <c:pt idx="1">
                  <c:v>0.019858810620282625</c:v>
                </c:pt>
                <c:pt idx="2">
                  <c:v>0.02067271489464636</c:v>
                </c:pt>
                <c:pt idx="3">
                  <c:v>0.03816181269444779</c:v>
                </c:pt>
                <c:pt idx="4">
                  <c:v>0.061731993688228556</c:v>
                </c:pt>
                <c:pt idx="5">
                  <c:v>0.09898178660011778</c:v>
                </c:pt>
                <c:pt idx="6">
                  <c:v>0.1331459748175859</c:v>
                </c:pt>
                <c:pt idx="7">
                  <c:v>0.17875425689666183</c:v>
                </c:pt>
                <c:pt idx="8">
                  <c:v>0.24426115458186035</c:v>
                </c:pt>
                <c:pt idx="9">
                  <c:v>0.09503180714688036</c:v>
                </c:pt>
                <c:pt idx="10">
                  <c:v>0.0926915777626836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26282793982235</c:v>
                </c:pt>
                <c:pt idx="1">
                  <c:v>0.0011038921196886058</c:v>
                </c:pt>
                <c:pt idx="2">
                  <c:v>0.0015283985064629766</c:v>
                </c:pt>
                <c:pt idx="3">
                  <c:v>0.24076304159164355</c:v>
                </c:pt>
                <c:pt idx="4">
                  <c:v>0.25076624691744265</c:v>
                </c:pt>
                <c:pt idx="5">
                  <c:v>0.09502257074442175</c:v>
                </c:pt>
                <c:pt idx="6">
                  <c:v>0.01776750922929795</c:v>
                </c:pt>
                <c:pt idx="7">
                  <c:v>0.15862329538353373</c:v>
                </c:pt>
                <c:pt idx="8">
                  <c:v>0.20675803051853367</c:v>
                </c:pt>
                <c:pt idx="9">
                  <c:v>0.0096407321949929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3216507981344795</c:v>
                </c:pt>
                <c:pt idx="1">
                  <c:v>0.0023840771180138245</c:v>
                </c:pt>
                <c:pt idx="2">
                  <c:v>0.0006210765838786364</c:v>
                </c:pt>
                <c:pt idx="3">
                  <c:v>0.0012114409022913643</c:v>
                </c:pt>
                <c:pt idx="4">
                  <c:v>0.002208665407299118</c:v>
                </c:pt>
                <c:pt idx="5">
                  <c:v>0.006766227407248358</c:v>
                </c:pt>
                <c:pt idx="6">
                  <c:v>0.011126942822025714</c:v>
                </c:pt>
                <c:pt idx="7">
                  <c:v>0.0037312847930632883</c:v>
                </c:pt>
                <c:pt idx="8">
                  <c:v>0.001233101998276001</c:v>
                </c:pt>
                <c:pt idx="9">
                  <c:v>0.000760528305259180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26282793982235</c:v>
                </c:pt>
                <c:pt idx="1">
                  <c:v>0.0011038921196886058</c:v>
                </c:pt>
                <c:pt idx="2">
                  <c:v>0.0015283985064629766</c:v>
                </c:pt>
                <c:pt idx="3">
                  <c:v>0.24076304159164355</c:v>
                </c:pt>
                <c:pt idx="4">
                  <c:v>0.25076624691744265</c:v>
                </c:pt>
                <c:pt idx="5">
                  <c:v>0.09502257074442175</c:v>
                </c:pt>
                <c:pt idx="6">
                  <c:v>0.01776750922929795</c:v>
                </c:pt>
                <c:pt idx="7">
                  <c:v>0.15862329538353373</c:v>
                </c:pt>
                <c:pt idx="8">
                  <c:v>0.20675803051853367</c:v>
                </c:pt>
                <c:pt idx="9">
                  <c:v>0.0096407321949929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811029660486</c:v>
                </c:pt>
                <c:pt idx="1">
                  <c:v>0.019858810620282625</c:v>
                </c:pt>
                <c:pt idx="2">
                  <c:v>0.02067271489464636</c:v>
                </c:pt>
                <c:pt idx="3">
                  <c:v>0.03816181269444779</c:v>
                </c:pt>
                <c:pt idx="4">
                  <c:v>0.061731993688228556</c:v>
                </c:pt>
                <c:pt idx="5">
                  <c:v>0.09898178660011778</c:v>
                </c:pt>
                <c:pt idx="6">
                  <c:v>0.1331459748175859</c:v>
                </c:pt>
                <c:pt idx="7">
                  <c:v>0.17875425689666183</c:v>
                </c:pt>
                <c:pt idx="8">
                  <c:v>0.24426115458186035</c:v>
                </c:pt>
                <c:pt idx="9">
                  <c:v>0.09503180714688036</c:v>
                </c:pt>
                <c:pt idx="10">
                  <c:v>0.0926915777626836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80757139506778</c:v>
                </c:pt>
                <c:pt idx="1">
                  <c:v>0.002358483306971908</c:v>
                </c:pt>
                <c:pt idx="2">
                  <c:v>0.003619155861541665</c:v>
                </c:pt>
                <c:pt idx="3">
                  <c:v>0.00852886398634107</c:v>
                </c:pt>
                <c:pt idx="4">
                  <c:v>0.017365960190071143</c:v>
                </c:pt>
                <c:pt idx="5">
                  <c:v>0.012773251521041222</c:v>
                </c:pt>
                <c:pt idx="6">
                  <c:v>0.007217092297699922</c:v>
                </c:pt>
                <c:pt idx="7">
                  <c:v>0.02923946021438303</c:v>
                </c:pt>
                <c:pt idx="8">
                  <c:v>0.017446588928085642</c:v>
                </c:pt>
                <c:pt idx="9">
                  <c:v>0.0045061512341818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6909789866177993</c:v>
                </c:pt>
                <c:pt idx="2">
                  <c:v>0.0010309499796625308</c:v>
                </c:pt>
                <c:pt idx="3">
                  <c:v>0.00779683497677579</c:v>
                </c:pt>
                <c:pt idx="4">
                  <c:v>0.0032249017541451153</c:v>
                </c:pt>
                <c:pt idx="5">
                  <c:v>0.00286534879792313</c:v>
                </c:pt>
                <c:pt idx="6">
                  <c:v>0.024290846603626636</c:v>
                </c:pt>
                <c:pt idx="7">
                  <c:v>0.019420510258136736</c:v>
                </c:pt>
                <c:pt idx="8">
                  <c:v>0.04078651795780649</c:v>
                </c:pt>
                <c:pt idx="9">
                  <c:v>0.01935996060433662</c:v>
                </c:pt>
                <c:pt idx="10">
                  <c:v>0.01398859512941173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45541230633906</c:v>
                </c:pt>
                <c:pt idx="7">
                  <c:v>0.004048302715896238</c:v>
                </c:pt>
                <c:pt idx="8">
                  <c:v>0.005097351187216424</c:v>
                </c:pt>
                <c:pt idx="9">
                  <c:v>0.00081897963897297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1291777799146224</c:v>
                </c:pt>
                <c:pt idx="1">
                  <c:v>0.005686624409962702</c:v>
                </c:pt>
                <c:pt idx="2">
                  <c:v>0.006293599851963095</c:v>
                </c:pt>
                <c:pt idx="3">
                  <c:v>0.014234821872830716</c:v>
                </c:pt>
                <c:pt idx="4">
                  <c:v>0.024931031981426714</c:v>
                </c:pt>
                <c:pt idx="5">
                  <c:v>0.03165845777995008</c:v>
                </c:pt>
                <c:pt idx="6">
                  <c:v>0.037329825317645955</c:v>
                </c:pt>
                <c:pt idx="7">
                  <c:v>0.06550505867346171</c:v>
                </c:pt>
                <c:pt idx="8">
                  <c:v>0.06778455988891151</c:v>
                </c:pt>
                <c:pt idx="9">
                  <c:v>0.017170088511958066</c:v>
                </c:pt>
                <c:pt idx="10">
                  <c:v>0.0731756805049791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3204327137061061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57457304010764</c:v>
                </c:pt>
                <c:pt idx="1">
                  <c:v>0.0041015309484930635</c:v>
                </c:pt>
                <c:pt idx="2">
                  <c:v>0.0025290227907755025</c:v>
                </c:pt>
                <c:pt idx="3">
                  <c:v>0.0031845989270525323</c:v>
                </c:pt>
                <c:pt idx="4">
                  <c:v>0.006212020060180097</c:v>
                </c:pt>
                <c:pt idx="5">
                  <c:v>0.0336761629785571</c:v>
                </c:pt>
                <c:pt idx="6">
                  <c:v>0.030721343566524145</c:v>
                </c:pt>
                <c:pt idx="7">
                  <c:v>0.03532135749807683</c:v>
                </c:pt>
                <c:pt idx="8">
                  <c:v>0.05968759127153753</c:v>
                </c:pt>
                <c:pt idx="9">
                  <c:v>0.04215457956427493</c:v>
                </c:pt>
                <c:pt idx="10">
                  <c:v>0.004662377974338328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60078872951177</c:v>
                </c:pt>
                <c:pt idx="1">
                  <c:v>0.003637115850223325</c:v>
                </c:pt>
                <c:pt idx="2">
                  <c:v>0.006578909826824928</c:v>
                </c:pt>
                <c:pt idx="3">
                  <c:v>0.0032052520291563167</c:v>
                </c:pt>
                <c:pt idx="4">
                  <c:v>0.0077894142951063705</c:v>
                </c:pt>
                <c:pt idx="5">
                  <c:v>0.011242338115397885</c:v>
                </c:pt>
                <c:pt idx="6">
                  <c:v>0.02245992421006351</c:v>
                </c:pt>
                <c:pt idx="7">
                  <c:v>0.025536585459540226</c:v>
                </c:pt>
                <c:pt idx="8">
                  <c:v>0.057322794537243184</c:v>
                </c:pt>
                <c:pt idx="9">
                  <c:v>0.01108049892686970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811029660486</c:v>
                </c:pt>
                <c:pt idx="1">
                  <c:v>0.019858810620282625</c:v>
                </c:pt>
                <c:pt idx="2">
                  <c:v>0.02067271489464636</c:v>
                </c:pt>
                <c:pt idx="3">
                  <c:v>0.03816181269444779</c:v>
                </c:pt>
                <c:pt idx="4">
                  <c:v>0.061731993688228556</c:v>
                </c:pt>
                <c:pt idx="5">
                  <c:v>0.09898178660011778</c:v>
                </c:pt>
                <c:pt idx="6">
                  <c:v>0.1331459748175859</c:v>
                </c:pt>
                <c:pt idx="7">
                  <c:v>0.17875425689666183</c:v>
                </c:pt>
                <c:pt idx="8">
                  <c:v>0.24426115458186035</c:v>
                </c:pt>
                <c:pt idx="9">
                  <c:v>0.09503180714688036</c:v>
                </c:pt>
                <c:pt idx="10">
                  <c:v>0.0926915777626836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3216507981344795</c:v>
                </c:pt>
                <c:pt idx="1">
                  <c:v>0.0023840771180138245</c:v>
                </c:pt>
                <c:pt idx="2">
                  <c:v>0.0006210765838786364</c:v>
                </c:pt>
                <c:pt idx="3">
                  <c:v>0.0012114409022913643</c:v>
                </c:pt>
                <c:pt idx="4">
                  <c:v>0.002208665407299118</c:v>
                </c:pt>
                <c:pt idx="5">
                  <c:v>0.006766227407248358</c:v>
                </c:pt>
                <c:pt idx="6">
                  <c:v>0.011126942822025714</c:v>
                </c:pt>
                <c:pt idx="7">
                  <c:v>0.0037312847930632883</c:v>
                </c:pt>
                <c:pt idx="8">
                  <c:v>0.001233101998276001</c:v>
                </c:pt>
                <c:pt idx="9">
                  <c:v>0.000760528305259180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60078872951177</c:v>
                </c:pt>
                <c:pt idx="1">
                  <c:v>0.003637115850223325</c:v>
                </c:pt>
                <c:pt idx="2">
                  <c:v>0.006578909826824928</c:v>
                </c:pt>
                <c:pt idx="3">
                  <c:v>0.0032052520291563167</c:v>
                </c:pt>
                <c:pt idx="4">
                  <c:v>0.0077894142951063705</c:v>
                </c:pt>
                <c:pt idx="5">
                  <c:v>0.011242338115397885</c:v>
                </c:pt>
                <c:pt idx="6">
                  <c:v>0.02245992421006351</c:v>
                </c:pt>
                <c:pt idx="7">
                  <c:v>0.025536585459540226</c:v>
                </c:pt>
                <c:pt idx="8">
                  <c:v>0.057322794537243184</c:v>
                </c:pt>
                <c:pt idx="9">
                  <c:v>0.01108049892686970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60078872951177</c:v>
                </c:pt>
                <c:pt idx="1">
                  <c:v>0.003637115850223325</c:v>
                </c:pt>
                <c:pt idx="2">
                  <c:v>0.006578909826824928</c:v>
                </c:pt>
                <c:pt idx="3">
                  <c:v>0.0032052520291563167</c:v>
                </c:pt>
                <c:pt idx="4">
                  <c:v>0.0077894142951063705</c:v>
                </c:pt>
                <c:pt idx="5">
                  <c:v>0.011242338115397885</c:v>
                </c:pt>
                <c:pt idx="6">
                  <c:v>0.02245992421006351</c:v>
                </c:pt>
                <c:pt idx="7">
                  <c:v>0.025536585459540226</c:v>
                </c:pt>
                <c:pt idx="8">
                  <c:v>0.057322794537243184</c:v>
                </c:pt>
                <c:pt idx="9">
                  <c:v>0.01108049892686970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60078872951177</c:v>
                </c:pt>
                <c:pt idx="1">
                  <c:v>0.003637115850223325</c:v>
                </c:pt>
                <c:pt idx="2">
                  <c:v>0.006578909826824928</c:v>
                </c:pt>
                <c:pt idx="3">
                  <c:v>0.0032052520291563167</c:v>
                </c:pt>
                <c:pt idx="4">
                  <c:v>0.0077894142951063705</c:v>
                </c:pt>
                <c:pt idx="5">
                  <c:v>0.011242338115397885</c:v>
                </c:pt>
                <c:pt idx="6">
                  <c:v>0.02245992421006351</c:v>
                </c:pt>
                <c:pt idx="7">
                  <c:v>0.025536585459540226</c:v>
                </c:pt>
                <c:pt idx="8">
                  <c:v>0.057322794537243184</c:v>
                </c:pt>
                <c:pt idx="9">
                  <c:v>0.01108049892686970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60078872951177</c:v>
                </c:pt>
                <c:pt idx="1">
                  <c:v>0.003637115850223325</c:v>
                </c:pt>
                <c:pt idx="2">
                  <c:v>0.006578909826824928</c:v>
                </c:pt>
                <c:pt idx="3">
                  <c:v>0.0032052520291563167</c:v>
                </c:pt>
                <c:pt idx="4">
                  <c:v>0.0077894142951063705</c:v>
                </c:pt>
                <c:pt idx="5">
                  <c:v>0.011242338115397885</c:v>
                </c:pt>
                <c:pt idx="6">
                  <c:v>0.02245992421006351</c:v>
                </c:pt>
                <c:pt idx="7">
                  <c:v>0.025536585459540226</c:v>
                </c:pt>
                <c:pt idx="8">
                  <c:v>0.057322794537243184</c:v>
                </c:pt>
                <c:pt idx="9">
                  <c:v>0.01108049892686970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1848985864658</c:v>
                </c:pt>
                <c:pt idx="2">
                  <c:v>0.04538602893418363</c:v>
                </c:pt>
                <c:pt idx="3">
                  <c:v>0.007906538469993625</c:v>
                </c:pt>
                <c:pt idx="4">
                  <c:v>0.005480867425960825</c:v>
                </c:pt>
                <c:pt idx="5">
                  <c:v>0.01542324587261205</c:v>
                </c:pt>
                <c:pt idx="6">
                  <c:v>0.06904094312888083</c:v>
                </c:pt>
                <c:pt idx="7">
                  <c:v>0.15744516134834335</c:v>
                </c:pt>
                <c:pt idx="8">
                  <c:v>0.2739069741414973</c:v>
                </c:pt>
                <c:pt idx="9">
                  <c:v>0.19470656624904822</c:v>
                </c:pt>
                <c:pt idx="10">
                  <c:v>0.225385184570833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1848985864658</c:v>
                </c:pt>
                <c:pt idx="2">
                  <c:v>0.04538602893418363</c:v>
                </c:pt>
                <c:pt idx="3">
                  <c:v>0.007906538469993625</c:v>
                </c:pt>
                <c:pt idx="4">
                  <c:v>0.005480867425960825</c:v>
                </c:pt>
                <c:pt idx="5">
                  <c:v>0.01542324587261205</c:v>
                </c:pt>
                <c:pt idx="6">
                  <c:v>0.06904094312888083</c:v>
                </c:pt>
                <c:pt idx="7">
                  <c:v>0.15744516134834335</c:v>
                </c:pt>
                <c:pt idx="8">
                  <c:v>0.2739069741414973</c:v>
                </c:pt>
                <c:pt idx="9">
                  <c:v>0.19470656624904822</c:v>
                </c:pt>
                <c:pt idx="10">
                  <c:v>0.225385184570833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60078872951177</c:v>
                </c:pt>
                <c:pt idx="1">
                  <c:v>0.003637115850223325</c:v>
                </c:pt>
                <c:pt idx="2">
                  <c:v>0.006578909826824928</c:v>
                </c:pt>
                <c:pt idx="3">
                  <c:v>0.0032052520291563167</c:v>
                </c:pt>
                <c:pt idx="4">
                  <c:v>0.0077894142951063705</c:v>
                </c:pt>
                <c:pt idx="5">
                  <c:v>0.011242338115397885</c:v>
                </c:pt>
                <c:pt idx="6">
                  <c:v>0.02245992421006351</c:v>
                </c:pt>
                <c:pt idx="7">
                  <c:v>0.025536585459540226</c:v>
                </c:pt>
                <c:pt idx="8">
                  <c:v>0.057322794537243184</c:v>
                </c:pt>
                <c:pt idx="9">
                  <c:v>0.01108049892686970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1</c:v>
                </c:pt>
                <c:pt idx="6">
                  <c:v>0.0780238118923588</c:v>
                </c:pt>
                <c:pt idx="7">
                  <c:v>0.1151528944769706</c:v>
                </c:pt>
                <c:pt idx="8">
                  <c:v>0.1802110412061716</c:v>
                </c:pt>
                <c:pt idx="9">
                  <c:v>0.0154362399823363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60078872951177</c:v>
                </c:pt>
                <c:pt idx="1">
                  <c:v>0.003637115850223325</c:v>
                </c:pt>
                <c:pt idx="2">
                  <c:v>0.006578909826824928</c:v>
                </c:pt>
                <c:pt idx="3">
                  <c:v>0.0032052520291563167</c:v>
                </c:pt>
                <c:pt idx="4">
                  <c:v>0.0077894142951063705</c:v>
                </c:pt>
                <c:pt idx="5">
                  <c:v>0.011242338115397885</c:v>
                </c:pt>
                <c:pt idx="6">
                  <c:v>0.02245992421006351</c:v>
                </c:pt>
                <c:pt idx="7">
                  <c:v>0.025536585459540226</c:v>
                </c:pt>
                <c:pt idx="8">
                  <c:v>0.057322794537243184</c:v>
                </c:pt>
                <c:pt idx="9">
                  <c:v>0.01108049892686970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1</c:v>
                </c:pt>
                <c:pt idx="6">
                  <c:v>0.0780238118923588</c:v>
                </c:pt>
                <c:pt idx="7">
                  <c:v>0.1151528944769706</c:v>
                </c:pt>
                <c:pt idx="8">
                  <c:v>0.1802110412061716</c:v>
                </c:pt>
                <c:pt idx="9">
                  <c:v>0.0154362399823363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5</c:v>
                </c:pt>
                <c:pt idx="3">
                  <c:v>0.043193698660743136</c:v>
                </c:pt>
                <c:pt idx="4">
                  <c:v>0.060866470201537945</c:v>
                </c:pt>
                <c:pt idx="5">
                  <c:v>0.11629275414523581</c:v>
                </c:pt>
                <c:pt idx="6">
                  <c:v>0.14114999538782796</c:v>
                </c:pt>
                <c:pt idx="7">
                  <c:v>0.18708207317322248</c:v>
                </c:pt>
                <c:pt idx="8">
                  <c:v>0.19672272953911324</c:v>
                </c:pt>
                <c:pt idx="9">
                  <c:v>0.14353338057932882</c:v>
                </c:pt>
                <c:pt idx="10">
                  <c:v>0.0266545056269850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11314270013406</c:v>
                </c:pt>
                <c:pt idx="1">
                  <c:v>0.004948769557768145</c:v>
                </c:pt>
                <c:pt idx="2">
                  <c:v>0.0037158044669079945</c:v>
                </c:pt>
                <c:pt idx="3">
                  <c:v>0.011783536209714679</c:v>
                </c:pt>
                <c:pt idx="4">
                  <c:v>0.01802717058757774</c:v>
                </c:pt>
                <c:pt idx="5">
                  <c:v>0.010869254450006912</c:v>
                </c:pt>
                <c:pt idx="6">
                  <c:v>0.010434324914567557</c:v>
                </c:pt>
                <c:pt idx="7">
                  <c:v>0.02133951590923541</c:v>
                </c:pt>
                <c:pt idx="8">
                  <c:v>0.020339809368483234</c:v>
                </c:pt>
                <c:pt idx="9">
                  <c:v>0.0022830431841173848</c:v>
                </c:pt>
                <c:pt idx="10">
                  <c:v>0.00123433963890649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676654634519031</c:v>
                </c:pt>
                <c:pt idx="2">
                  <c:v>0.000594872847455506</c:v>
                </c:pt>
                <c:pt idx="3">
                  <c:v>0.008650589688322628</c:v>
                </c:pt>
                <c:pt idx="4">
                  <c:v>0.0033209441336984396</c:v>
                </c:pt>
                <c:pt idx="5">
                  <c:v>0.008698360866326887</c:v>
                </c:pt>
                <c:pt idx="6">
                  <c:v>0.016342961653318288</c:v>
                </c:pt>
                <c:pt idx="7">
                  <c:v>0.03266522847178794</c:v>
                </c:pt>
                <c:pt idx="8">
                  <c:v>0.032846479531879955</c:v>
                </c:pt>
                <c:pt idx="9">
                  <c:v>0.021186787847783866</c:v>
                </c:pt>
                <c:pt idx="10">
                  <c:v>0.00567263810597987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22620463993700407</c:v>
                </c:pt>
                <c:pt idx="7">
                  <c:v>0.005291820696417607</c:v>
                </c:pt>
                <c:pt idx="8">
                  <c:v>0.0046080483907251155</c:v>
                </c:pt>
                <c:pt idx="9">
                  <c:v>0.0011432183702208248</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76531424538872</c:v>
                </c:pt>
                <c:pt idx="1">
                  <c:v>0.006484058604671671</c:v>
                </c:pt>
                <c:pt idx="2">
                  <c:v>0.017607473748520872</c:v>
                </c:pt>
                <c:pt idx="3">
                  <c:v>0.0144704216098494</c:v>
                </c:pt>
                <c:pt idx="4">
                  <c:v>0.012628130636830003</c:v>
                </c:pt>
                <c:pt idx="5">
                  <c:v>0.044507068052242346</c:v>
                </c:pt>
                <c:pt idx="6">
                  <c:v>0.05388309462556401</c:v>
                </c:pt>
                <c:pt idx="7">
                  <c:v>0.05930241930010393</c:v>
                </c:pt>
                <c:pt idx="8">
                  <c:v>0.058665760192039416</c:v>
                </c:pt>
                <c:pt idx="9">
                  <c:v>0.07077977380581564</c:v>
                </c:pt>
                <c:pt idx="10">
                  <c:v>0.01671005611599159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14957426236028304</c:v>
                </c:pt>
                <c:pt idx="8">
                  <c:v>0.004314764904783299</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143166705241142</c:v>
                </c:pt>
                <c:pt idx="1">
                  <c:v>0.004557672331505151</c:v>
                </c:pt>
                <c:pt idx="2">
                  <c:v>0.003583180860652393</c:v>
                </c:pt>
                <c:pt idx="3">
                  <c:v>0.0038627459064201563</c:v>
                </c:pt>
                <c:pt idx="4">
                  <c:v>0.012700932109422533</c:v>
                </c:pt>
                <c:pt idx="5">
                  <c:v>0.032092645836257816</c:v>
                </c:pt>
                <c:pt idx="6">
                  <c:v>0.028317091343125246</c:v>
                </c:pt>
                <c:pt idx="7">
                  <c:v>0.039559731629814326</c:v>
                </c:pt>
                <c:pt idx="8">
                  <c:v>0.0548241597919585</c:v>
                </c:pt>
                <c:pt idx="9">
                  <c:v>0.03423495783400359</c:v>
                </c:pt>
                <c:pt idx="10">
                  <c:v>0.001237945010831348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5</c:v>
                </c:pt>
                <c:pt idx="3">
                  <c:v>0.043193698660743136</c:v>
                </c:pt>
                <c:pt idx="4">
                  <c:v>0.060866470201537945</c:v>
                </c:pt>
                <c:pt idx="5">
                  <c:v>0.11629275414523581</c:v>
                </c:pt>
                <c:pt idx="6">
                  <c:v>0.14114999538782796</c:v>
                </c:pt>
                <c:pt idx="7">
                  <c:v>0.18708207317322248</c:v>
                </c:pt>
                <c:pt idx="8">
                  <c:v>0.19672272953911324</c:v>
                </c:pt>
                <c:pt idx="9">
                  <c:v>0.14353338057932882</c:v>
                </c:pt>
                <c:pt idx="10">
                  <c:v>0.0266545056269850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536403900010128</c:v>
                </c:pt>
                <c:pt idx="1">
                  <c:v>0.0005926825840111598</c:v>
                </c:pt>
                <c:pt idx="2">
                  <c:v>0.002300763587128022</c:v>
                </c:pt>
                <c:pt idx="3">
                  <c:v>0.0008153503540898862</c:v>
                </c:pt>
                <c:pt idx="4">
                  <c:v>0.004046164696381986</c:v>
                </c:pt>
                <c:pt idx="5">
                  <c:v>0.008077394139565281</c:v>
                </c:pt>
                <c:pt idx="6">
                  <c:v>0.0063320831646094386</c:v>
                </c:pt>
                <c:pt idx="7">
                  <c:v>0.0021962123080222825</c:v>
                </c:pt>
                <c:pt idx="8">
                  <c:v>0.00238328604377292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1848985864658</c:v>
                </c:pt>
                <c:pt idx="2">
                  <c:v>0.04538602893418363</c:v>
                </c:pt>
                <c:pt idx="3">
                  <c:v>0.007906538469993625</c:v>
                </c:pt>
                <c:pt idx="4">
                  <c:v>0.005480867425960825</c:v>
                </c:pt>
                <c:pt idx="5">
                  <c:v>0.01542324587261205</c:v>
                </c:pt>
                <c:pt idx="6">
                  <c:v>0.06904094312888083</c:v>
                </c:pt>
                <c:pt idx="7">
                  <c:v>0.15744516134834335</c:v>
                </c:pt>
                <c:pt idx="8">
                  <c:v>0.2739069741414973</c:v>
                </c:pt>
                <c:pt idx="9">
                  <c:v>0.19470656624904822</c:v>
                </c:pt>
                <c:pt idx="10">
                  <c:v>0.225385184570833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5919305396859</c:v>
                </c:pt>
                <c:pt idx="3">
                  <c:v>0.38033761780311476</c:v>
                </c:pt>
                <c:pt idx="4">
                  <c:v>0.10777100894814891</c:v>
                </c:pt>
                <c:pt idx="5">
                  <c:v>0.1124391481839141</c:v>
                </c:pt>
                <c:pt idx="6">
                  <c:v>0.005705814164921814</c:v>
                </c:pt>
                <c:pt idx="7">
                  <c:v>0.1841194995714798</c:v>
                </c:pt>
                <c:pt idx="8">
                  <c:v>0.2012064868263113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5919305396859</c:v>
                </c:pt>
                <c:pt idx="3">
                  <c:v>0.38033761780311476</c:v>
                </c:pt>
                <c:pt idx="4">
                  <c:v>0.10777100894814891</c:v>
                </c:pt>
                <c:pt idx="5">
                  <c:v>0.1124391481839141</c:v>
                </c:pt>
                <c:pt idx="6">
                  <c:v>0.005705814164921814</c:v>
                </c:pt>
                <c:pt idx="7">
                  <c:v>0.1841194995714798</c:v>
                </c:pt>
                <c:pt idx="8">
                  <c:v>0.2012064868263113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540631649573792</c:v>
                </c:pt>
                <c:pt idx="1">
                  <c:v>0.012093629714621369</c:v>
                </c:pt>
                <c:pt idx="2">
                  <c:v>0.014394612949775013</c:v>
                </c:pt>
                <c:pt idx="3">
                  <c:v>0.07418026880793831</c:v>
                </c:pt>
                <c:pt idx="4">
                  <c:v>0.05471854397776582</c:v>
                </c:pt>
                <c:pt idx="5">
                  <c:v>0.12564688792065343</c:v>
                </c:pt>
                <c:pt idx="6">
                  <c:v>0.11871841643855079</c:v>
                </c:pt>
                <c:pt idx="7">
                  <c:v>0.1886058481026295</c:v>
                </c:pt>
                <c:pt idx="8">
                  <c:v>0.21497156766096434</c:v>
                </c:pt>
                <c:pt idx="9">
                  <c:v>0.11387875955480221</c:v>
                </c:pt>
                <c:pt idx="10">
                  <c:v>0.0682508332227254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409571985291514</c:v>
                </c:pt>
                <c:pt idx="2">
                  <c:v>0.0019994245176096835</c:v>
                </c:pt>
                <c:pt idx="3">
                  <c:v>0.02548103817339042</c:v>
                </c:pt>
                <c:pt idx="4">
                  <c:v>0.01256447630411605</c:v>
                </c:pt>
                <c:pt idx="5">
                  <c:v>0.012446632577484282</c:v>
                </c:pt>
                <c:pt idx="6">
                  <c:v>0.001997102244939829</c:v>
                </c:pt>
                <c:pt idx="7">
                  <c:v>0.02599684976745516</c:v>
                </c:pt>
                <c:pt idx="8">
                  <c:v>0.019105325643529913</c:v>
                </c:pt>
                <c:pt idx="9">
                  <c:v>0.00931225534929994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8881125428141447</c:v>
                </c:pt>
                <c:pt idx="2">
                  <c:v>0.0006353447740638277</c:v>
                </c:pt>
                <c:pt idx="3">
                  <c:v>0.012692479973678433</c:v>
                </c:pt>
                <c:pt idx="4">
                  <c:v>0.004135578644338727</c:v>
                </c:pt>
                <c:pt idx="5">
                  <c:v>0.01636734294304472</c:v>
                </c:pt>
                <c:pt idx="6">
                  <c:v>0.0185193059409738</c:v>
                </c:pt>
                <c:pt idx="7">
                  <c:v>0.018082556119954254</c:v>
                </c:pt>
                <c:pt idx="8">
                  <c:v>0.04873368735528685</c:v>
                </c:pt>
                <c:pt idx="9">
                  <c:v>0.01512378334538264</c:v>
                </c:pt>
                <c:pt idx="10">
                  <c:v>0.01420333896132244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4427290925762504</c:v>
                </c:pt>
                <c:pt idx="6">
                  <c:v>0.0006084702735919362</c:v>
                </c:pt>
                <c:pt idx="7">
                  <c:v>0.003186837367796355</c:v>
                </c:pt>
                <c:pt idx="8">
                  <c:v>0.01044957677799785</c:v>
                </c:pt>
                <c:pt idx="9">
                  <c:v>0.0014093408378813206</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275445167769164</c:v>
                </c:pt>
                <c:pt idx="1">
                  <c:v>0.002087630239292433</c:v>
                </c:pt>
                <c:pt idx="2">
                  <c:v>0.007628752805697268</c:v>
                </c:pt>
                <c:pt idx="3">
                  <c:v>0.029492508760570448</c:v>
                </c:pt>
                <c:pt idx="4">
                  <c:v>0.00848564239246522</c:v>
                </c:pt>
                <c:pt idx="5">
                  <c:v>0.03771410875047321</c:v>
                </c:pt>
                <c:pt idx="6">
                  <c:v>0.03775991557888609</c:v>
                </c:pt>
                <c:pt idx="7">
                  <c:v>0.06423632045834789</c:v>
                </c:pt>
                <c:pt idx="8">
                  <c:v>0.04754680862781425</c:v>
                </c:pt>
                <c:pt idx="9">
                  <c:v>0.040933034120885274</c:v>
                </c:pt>
                <c:pt idx="10">
                  <c:v>0.0437205741201451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6109434939853312</c:v>
                </c:pt>
                <c:pt idx="8">
                  <c:v>0.0037531351697037327</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949713391493337</c:v>
                </c:pt>
                <c:pt idx="2">
                  <c:v>0.0009886146982837744</c:v>
                </c:pt>
                <c:pt idx="3">
                  <c:v>0.004003313604427162</c:v>
                </c:pt>
                <c:pt idx="4">
                  <c:v>0.017559893821513444</c:v>
                </c:pt>
                <c:pt idx="5">
                  <c:v>0.038033792806205384</c:v>
                </c:pt>
                <c:pt idx="6">
                  <c:v>0.02310810512524301</c:v>
                </c:pt>
                <c:pt idx="7">
                  <c:v>0.05072384600494382</c:v>
                </c:pt>
                <c:pt idx="8">
                  <c:v>0.0480740632204597</c:v>
                </c:pt>
                <c:pt idx="9">
                  <c:v>0.03524604960808688</c:v>
                </c:pt>
                <c:pt idx="10">
                  <c:v>0.01027969092083464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95282127739604</c:v>
                </c:pt>
                <c:pt idx="1">
                  <c:v>0.0013983390711078847</c:v>
                </c:pt>
                <c:pt idx="2">
                  <c:v>0.0029907504692355128</c:v>
                </c:pt>
                <c:pt idx="3">
                  <c:v>0.0012188738391815262</c:v>
                </c:pt>
                <c:pt idx="4">
                  <c:v>0.008214220968494296</c:v>
                </c:pt>
                <c:pt idx="5">
                  <c:v>0.013787640542055134</c:v>
                </c:pt>
                <c:pt idx="6">
                  <c:v>0.03197166836631868</c:v>
                </c:pt>
                <c:pt idx="7">
                  <c:v>0.022428550085226828</c:v>
                </c:pt>
                <c:pt idx="8">
                  <c:v>0.05012765474809373</c:v>
                </c:pt>
                <c:pt idx="9">
                  <c:v>0.0122690019409671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540631649573792</c:v>
                </c:pt>
                <c:pt idx="1">
                  <c:v>0.012093629714621369</c:v>
                </c:pt>
                <c:pt idx="2">
                  <c:v>0.014394612949775013</c:v>
                </c:pt>
                <c:pt idx="3">
                  <c:v>0.07418026880793831</c:v>
                </c:pt>
                <c:pt idx="4">
                  <c:v>0.05471854397776582</c:v>
                </c:pt>
                <c:pt idx="5">
                  <c:v>0.12564688792065343</c:v>
                </c:pt>
                <c:pt idx="6">
                  <c:v>0.11871841643855079</c:v>
                </c:pt>
                <c:pt idx="7">
                  <c:v>0.1886058481026295</c:v>
                </c:pt>
                <c:pt idx="8">
                  <c:v>0.21497156766096434</c:v>
                </c:pt>
                <c:pt idx="9">
                  <c:v>0.11387875955480221</c:v>
                </c:pt>
                <c:pt idx="10">
                  <c:v>0.0682508332227254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9472376049886411</c:v>
                </c:pt>
                <c:pt idx="1">
                  <c:v>0.0028538757180742863</c:v>
                </c:pt>
                <c:pt idx="3">
                  <c:v>0.0012920544566903172</c:v>
                </c:pt>
                <c:pt idx="4">
                  <c:v>0.0037587318468380823</c:v>
                </c:pt>
                <c:pt idx="5">
                  <c:v>0.0072973703013907015</c:v>
                </c:pt>
                <c:pt idx="6">
                  <c:v>0.005362319182189386</c:v>
                </c:pt>
                <c:pt idx="7">
                  <c:v>0.007137725666701551</c:v>
                </c:pt>
                <c:pt idx="8">
                  <c:v>0.001384028065779906</c:v>
                </c:pt>
                <c:pt idx="9">
                  <c:v>0.000994635190180372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95282127739604</c:v>
                </c:pt>
                <c:pt idx="1">
                  <c:v>0.0013983390711078847</c:v>
                </c:pt>
                <c:pt idx="2">
                  <c:v>0.0029907504692355128</c:v>
                </c:pt>
                <c:pt idx="3">
                  <c:v>0.0012188738391815262</c:v>
                </c:pt>
                <c:pt idx="4">
                  <c:v>0.008214220968494296</c:v>
                </c:pt>
                <c:pt idx="5">
                  <c:v>0.013787640542055134</c:v>
                </c:pt>
                <c:pt idx="6">
                  <c:v>0.03197166836631868</c:v>
                </c:pt>
                <c:pt idx="7">
                  <c:v>0.022428550085226828</c:v>
                </c:pt>
                <c:pt idx="8">
                  <c:v>0.05012765474809373</c:v>
                </c:pt>
                <c:pt idx="9">
                  <c:v>0.0122690019409671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95282127739604</c:v>
                </c:pt>
                <c:pt idx="1">
                  <c:v>0.0013983390711078847</c:v>
                </c:pt>
                <c:pt idx="2">
                  <c:v>0.0029907504692355128</c:v>
                </c:pt>
                <c:pt idx="3">
                  <c:v>0.0012188738391815262</c:v>
                </c:pt>
                <c:pt idx="4">
                  <c:v>0.008214220968494296</c:v>
                </c:pt>
                <c:pt idx="5">
                  <c:v>0.013787640542055134</c:v>
                </c:pt>
                <c:pt idx="6">
                  <c:v>0.03197166836631868</c:v>
                </c:pt>
                <c:pt idx="7">
                  <c:v>0.022428550085226828</c:v>
                </c:pt>
                <c:pt idx="8">
                  <c:v>0.05012765474809373</c:v>
                </c:pt>
                <c:pt idx="9">
                  <c:v>0.0122690019409671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95282127739604</c:v>
                </c:pt>
                <c:pt idx="1">
                  <c:v>0.0013983390711078847</c:v>
                </c:pt>
                <c:pt idx="2">
                  <c:v>0.0029907504692355128</c:v>
                </c:pt>
                <c:pt idx="3">
                  <c:v>0.0012188738391815262</c:v>
                </c:pt>
                <c:pt idx="4">
                  <c:v>0.008214220968494296</c:v>
                </c:pt>
                <c:pt idx="5">
                  <c:v>0.013787640542055134</c:v>
                </c:pt>
                <c:pt idx="6">
                  <c:v>0.03197166836631868</c:v>
                </c:pt>
                <c:pt idx="7">
                  <c:v>0.022428550085226828</c:v>
                </c:pt>
                <c:pt idx="8">
                  <c:v>0.05012765474809373</c:v>
                </c:pt>
                <c:pt idx="9">
                  <c:v>0.0122690019409671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7402912863983</c:v>
                </c:pt>
                <c:pt idx="2">
                  <c:v>0.04008374234048721</c:v>
                </c:pt>
                <c:pt idx="3">
                  <c:v>0.012276837033556913</c:v>
                </c:pt>
                <c:pt idx="4">
                  <c:v>0.007189571067283759</c:v>
                </c:pt>
                <c:pt idx="5">
                  <c:v>0.013904077409810174</c:v>
                </c:pt>
                <c:pt idx="6">
                  <c:v>0.07182911164645789</c:v>
                </c:pt>
                <c:pt idx="7">
                  <c:v>0.155648172212837</c:v>
                </c:pt>
                <c:pt idx="8">
                  <c:v>0.27976076830036284</c:v>
                </c:pt>
                <c:pt idx="9">
                  <c:v>0.18838515478963205</c:v>
                </c:pt>
                <c:pt idx="10">
                  <c:v>0.225473440358260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7402912863983</c:v>
                </c:pt>
                <c:pt idx="2">
                  <c:v>0.04008374234048721</c:v>
                </c:pt>
                <c:pt idx="3">
                  <c:v>0.012276837033556913</c:v>
                </c:pt>
                <c:pt idx="4">
                  <c:v>0.007189571067283759</c:v>
                </c:pt>
                <c:pt idx="5">
                  <c:v>0.013904077409810174</c:v>
                </c:pt>
                <c:pt idx="6">
                  <c:v>0.07182911164645789</c:v>
                </c:pt>
                <c:pt idx="7">
                  <c:v>0.155648172212837</c:v>
                </c:pt>
                <c:pt idx="8">
                  <c:v>0.27976076830036284</c:v>
                </c:pt>
                <c:pt idx="9">
                  <c:v>0.18838515478963205</c:v>
                </c:pt>
                <c:pt idx="10">
                  <c:v>0.225473440358260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1848985864658</c:v>
                </c:pt>
                <c:pt idx="2">
                  <c:v>0.04538602893418363</c:v>
                </c:pt>
                <c:pt idx="3">
                  <c:v>0.007906538469993625</c:v>
                </c:pt>
                <c:pt idx="4">
                  <c:v>0.005480867425960825</c:v>
                </c:pt>
                <c:pt idx="5">
                  <c:v>0.01542324587261205</c:v>
                </c:pt>
                <c:pt idx="6">
                  <c:v>0.06904094312888083</c:v>
                </c:pt>
                <c:pt idx="7">
                  <c:v>0.15744516134834335</c:v>
                </c:pt>
                <c:pt idx="8">
                  <c:v>0.2739069741414973</c:v>
                </c:pt>
                <c:pt idx="9">
                  <c:v>0.19470656624904822</c:v>
                </c:pt>
                <c:pt idx="10">
                  <c:v>0.225385184570833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1</c:v>
                </c:pt>
                <c:pt idx="6">
                  <c:v>0.0780238118923588</c:v>
                </c:pt>
                <c:pt idx="7">
                  <c:v>0.1151528944769706</c:v>
                </c:pt>
                <c:pt idx="8">
                  <c:v>0.1802110412061716</c:v>
                </c:pt>
                <c:pt idx="9">
                  <c:v>0.0154362399823363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1</c:v>
                </c:pt>
                <c:pt idx="6">
                  <c:v>0.0780238118923588</c:v>
                </c:pt>
                <c:pt idx="7">
                  <c:v>0.1151528944769706</c:v>
                </c:pt>
                <c:pt idx="8">
                  <c:v>0.1802110412061716</c:v>
                </c:pt>
                <c:pt idx="9">
                  <c:v>0.0154362399823363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5</c:v>
                </c:pt>
                <c:pt idx="3">
                  <c:v>0.043193698660743136</c:v>
                </c:pt>
                <c:pt idx="4">
                  <c:v>0.060866470201537945</c:v>
                </c:pt>
                <c:pt idx="5">
                  <c:v>0.11629275414523581</c:v>
                </c:pt>
                <c:pt idx="6">
                  <c:v>0.14114999538782796</c:v>
                </c:pt>
                <c:pt idx="7">
                  <c:v>0.18708207317322248</c:v>
                </c:pt>
                <c:pt idx="8">
                  <c:v>0.19672272953911324</c:v>
                </c:pt>
                <c:pt idx="9">
                  <c:v>0.14353338057932882</c:v>
                </c:pt>
                <c:pt idx="10">
                  <c:v>0.0266545056269850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11314270013406</c:v>
                </c:pt>
                <c:pt idx="1">
                  <c:v>0.004948769557768145</c:v>
                </c:pt>
                <c:pt idx="2">
                  <c:v>0.0037158044669079945</c:v>
                </c:pt>
                <c:pt idx="3">
                  <c:v>0.011783536209714679</c:v>
                </c:pt>
                <c:pt idx="4">
                  <c:v>0.01802717058757774</c:v>
                </c:pt>
                <c:pt idx="5">
                  <c:v>0.010869254450006912</c:v>
                </c:pt>
                <c:pt idx="6">
                  <c:v>0.010434324914567557</c:v>
                </c:pt>
                <c:pt idx="7">
                  <c:v>0.02133951590923541</c:v>
                </c:pt>
                <c:pt idx="8">
                  <c:v>0.020339809368483234</c:v>
                </c:pt>
                <c:pt idx="9">
                  <c:v>0.0022830431841173848</c:v>
                </c:pt>
                <c:pt idx="10">
                  <c:v>0.00123433963890649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 Id="rId8" Type="http://schemas.openxmlformats.org/officeDocument/2006/relationships/chart" Target="../charts/chart435.xml"/><Relationship Id="rId9" Type="http://schemas.openxmlformats.org/officeDocument/2006/relationships/chart" Target="../charts/chart436.xml"/><Relationship Id="rId10" Type="http://schemas.openxmlformats.org/officeDocument/2006/relationships/chart" Target="../charts/chart437.xml"/><Relationship Id="rId11" Type="http://schemas.openxmlformats.org/officeDocument/2006/relationships/chart" Target="../charts/chart438.xml"/><Relationship Id="rId12" Type="http://schemas.openxmlformats.org/officeDocument/2006/relationships/chart" Target="../charts/chart439.xml"/><Relationship Id="rId13" Type="http://schemas.openxmlformats.org/officeDocument/2006/relationships/chart" Target="../charts/chart440.xml"/><Relationship Id="rId14" Type="http://schemas.openxmlformats.org/officeDocument/2006/relationships/chart" Target="../charts/chart441.xml"/><Relationship Id="rId15" Type="http://schemas.openxmlformats.org/officeDocument/2006/relationships/chart" Target="../charts/chart442.xml"/><Relationship Id="rId16" Type="http://schemas.openxmlformats.org/officeDocument/2006/relationships/chart" Target="../charts/chart443.xml"/><Relationship Id="rId17" Type="http://schemas.openxmlformats.org/officeDocument/2006/relationships/chart" Target="../charts/chart44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5.xml"/><Relationship Id="rId7" Type="http://schemas.openxmlformats.org/officeDocument/2006/relationships/chart" Target="../charts/chart446.xml"/><Relationship Id="rId8" Type="http://schemas.openxmlformats.org/officeDocument/2006/relationships/chart" Target="../charts/chart447.xml"/><Relationship Id="rId9" Type="http://schemas.openxmlformats.org/officeDocument/2006/relationships/chart" Target="../charts/chart448.xml"/><Relationship Id="rId10" Type="http://schemas.openxmlformats.org/officeDocument/2006/relationships/chart" Target="../charts/chart449.xml"/><Relationship Id="rId11" Type="http://schemas.openxmlformats.org/officeDocument/2006/relationships/chart" Target="../charts/chart450.xml"/><Relationship Id="rId12" Type="http://schemas.openxmlformats.org/officeDocument/2006/relationships/chart" Target="../charts/chart451.xml"/><Relationship Id="rId13" Type="http://schemas.openxmlformats.org/officeDocument/2006/relationships/chart" Target="../charts/chart452.xml"/><Relationship Id="rId14" Type="http://schemas.openxmlformats.org/officeDocument/2006/relationships/chart" Target="../charts/chart453.xml"/><Relationship Id="rId15" Type="http://schemas.openxmlformats.org/officeDocument/2006/relationships/chart" Target="../charts/chart454.xml"/><Relationship Id="rId16" Type="http://schemas.openxmlformats.org/officeDocument/2006/relationships/chart" Target="../charts/chart455.xml"/><Relationship Id="rId17" Type="http://schemas.openxmlformats.org/officeDocument/2006/relationships/chart" Target="../charts/chart45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 Id="rId8" Type="http://schemas.openxmlformats.org/officeDocument/2006/relationships/chart" Target="../charts/chart459.xml"/><Relationship Id="rId9" Type="http://schemas.openxmlformats.org/officeDocument/2006/relationships/chart" Target="../charts/chart460.xml"/><Relationship Id="rId10" Type="http://schemas.openxmlformats.org/officeDocument/2006/relationships/chart" Target="../charts/chart461.xml"/><Relationship Id="rId11" Type="http://schemas.openxmlformats.org/officeDocument/2006/relationships/chart" Target="../charts/chart462.xml"/><Relationship Id="rId12" Type="http://schemas.openxmlformats.org/officeDocument/2006/relationships/chart" Target="../charts/chart463.xml"/><Relationship Id="rId13" Type="http://schemas.openxmlformats.org/officeDocument/2006/relationships/chart" Target="../charts/chart464.xml"/><Relationship Id="rId14" Type="http://schemas.openxmlformats.org/officeDocument/2006/relationships/chart" Target="../charts/chart465.xml"/><Relationship Id="rId15" Type="http://schemas.openxmlformats.org/officeDocument/2006/relationships/chart" Target="../charts/chart466.xml"/><Relationship Id="rId16" Type="http://schemas.openxmlformats.org/officeDocument/2006/relationships/chart" Target="../charts/chart467.xml"/><Relationship Id="rId17" Type="http://schemas.openxmlformats.org/officeDocument/2006/relationships/chart" Target="../charts/chart46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9.xml"/><Relationship Id="rId7" Type="http://schemas.openxmlformats.org/officeDocument/2006/relationships/chart" Target="../charts/chart470.xml"/><Relationship Id="rId8" Type="http://schemas.openxmlformats.org/officeDocument/2006/relationships/chart" Target="../charts/chart471.xml"/><Relationship Id="rId9" Type="http://schemas.openxmlformats.org/officeDocument/2006/relationships/chart" Target="../charts/chart472.xml"/><Relationship Id="rId10" Type="http://schemas.openxmlformats.org/officeDocument/2006/relationships/chart" Target="../charts/chart473.xml"/><Relationship Id="rId11" Type="http://schemas.openxmlformats.org/officeDocument/2006/relationships/chart" Target="../charts/chart474.xml"/><Relationship Id="rId12" Type="http://schemas.openxmlformats.org/officeDocument/2006/relationships/chart" Target="../charts/chart475.xml"/><Relationship Id="rId13" Type="http://schemas.openxmlformats.org/officeDocument/2006/relationships/chart" Target="../charts/chart476.xml"/><Relationship Id="rId14" Type="http://schemas.openxmlformats.org/officeDocument/2006/relationships/chart" Target="../charts/chart477.xml"/><Relationship Id="rId15" Type="http://schemas.openxmlformats.org/officeDocument/2006/relationships/chart" Target="../charts/chart478.xml"/><Relationship Id="rId16" Type="http://schemas.openxmlformats.org/officeDocument/2006/relationships/chart" Target="../charts/chart479.xml"/><Relationship Id="rId17" Type="http://schemas.openxmlformats.org/officeDocument/2006/relationships/chart" Target="../charts/chart4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 Id="rId8" Type="http://schemas.openxmlformats.org/officeDocument/2006/relationships/chart" Target="../charts/chart483.xml"/><Relationship Id="rId9" Type="http://schemas.openxmlformats.org/officeDocument/2006/relationships/chart" Target="../charts/chart484.xml"/><Relationship Id="rId10" Type="http://schemas.openxmlformats.org/officeDocument/2006/relationships/chart" Target="../charts/chart485.xml"/><Relationship Id="rId11" Type="http://schemas.openxmlformats.org/officeDocument/2006/relationships/chart" Target="../charts/chart486.xml"/><Relationship Id="rId12" Type="http://schemas.openxmlformats.org/officeDocument/2006/relationships/chart" Target="../charts/chart487.xml"/><Relationship Id="rId13" Type="http://schemas.openxmlformats.org/officeDocument/2006/relationships/chart" Target="../charts/chart488.xml"/><Relationship Id="rId14" Type="http://schemas.openxmlformats.org/officeDocument/2006/relationships/chart" Target="../charts/chart489.xml"/><Relationship Id="rId15" Type="http://schemas.openxmlformats.org/officeDocument/2006/relationships/chart" Target="../charts/chart490.xml"/><Relationship Id="rId16" Type="http://schemas.openxmlformats.org/officeDocument/2006/relationships/chart" Target="../charts/chart491.xml"/><Relationship Id="rId17" Type="http://schemas.openxmlformats.org/officeDocument/2006/relationships/chart" Target="../charts/chart49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 Id="rId7" Type="http://schemas.openxmlformats.org/officeDocument/2006/relationships/chart" Target="../charts/chart494.xml"/><Relationship Id="rId8" Type="http://schemas.openxmlformats.org/officeDocument/2006/relationships/chart" Target="../charts/chart495.xml"/><Relationship Id="rId9" Type="http://schemas.openxmlformats.org/officeDocument/2006/relationships/chart" Target="../charts/chart496.xml"/><Relationship Id="rId10" Type="http://schemas.openxmlformats.org/officeDocument/2006/relationships/chart" Target="../charts/chart497.xml"/><Relationship Id="rId11" Type="http://schemas.openxmlformats.org/officeDocument/2006/relationships/chart" Target="../charts/chart498.xml"/><Relationship Id="rId12" Type="http://schemas.openxmlformats.org/officeDocument/2006/relationships/chart" Target="../charts/chart499.xml"/><Relationship Id="rId13" Type="http://schemas.openxmlformats.org/officeDocument/2006/relationships/chart" Target="../charts/chart500.xml"/><Relationship Id="rId14" Type="http://schemas.openxmlformats.org/officeDocument/2006/relationships/chart" Target="../charts/chart501.xml"/><Relationship Id="rId15" Type="http://schemas.openxmlformats.org/officeDocument/2006/relationships/chart" Target="../charts/chart502.xml"/><Relationship Id="rId16" Type="http://schemas.openxmlformats.org/officeDocument/2006/relationships/chart" Target="../charts/chart503.xml"/><Relationship Id="rId17" Type="http://schemas.openxmlformats.org/officeDocument/2006/relationships/chart" Target="../charts/chart50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 Id="rId8" Type="http://schemas.openxmlformats.org/officeDocument/2006/relationships/chart" Target="../charts/chart507.xml"/><Relationship Id="rId9" Type="http://schemas.openxmlformats.org/officeDocument/2006/relationships/chart" Target="../charts/chart508.xml"/><Relationship Id="rId10" Type="http://schemas.openxmlformats.org/officeDocument/2006/relationships/chart" Target="../charts/chart509.xml"/><Relationship Id="rId11" Type="http://schemas.openxmlformats.org/officeDocument/2006/relationships/chart" Target="../charts/chart510.xml"/><Relationship Id="rId12" Type="http://schemas.openxmlformats.org/officeDocument/2006/relationships/chart" Target="../charts/chart511.xml"/><Relationship Id="rId13" Type="http://schemas.openxmlformats.org/officeDocument/2006/relationships/chart" Target="../charts/chart512.xml"/><Relationship Id="rId14" Type="http://schemas.openxmlformats.org/officeDocument/2006/relationships/chart" Target="../charts/chart513.xml"/><Relationship Id="rId15" Type="http://schemas.openxmlformats.org/officeDocument/2006/relationships/chart" Target="../charts/chart514.xml"/><Relationship Id="rId16" Type="http://schemas.openxmlformats.org/officeDocument/2006/relationships/chart" Target="../charts/chart515.xml"/><Relationship Id="rId17" Type="http://schemas.openxmlformats.org/officeDocument/2006/relationships/chart" Target="../charts/chart51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7.xml"/><Relationship Id="rId7" Type="http://schemas.openxmlformats.org/officeDocument/2006/relationships/chart" Target="../charts/chart518.xml"/><Relationship Id="rId8" Type="http://schemas.openxmlformats.org/officeDocument/2006/relationships/chart" Target="../charts/chart519.xml"/><Relationship Id="rId9" Type="http://schemas.openxmlformats.org/officeDocument/2006/relationships/chart" Target="../charts/chart520.xml"/><Relationship Id="rId10" Type="http://schemas.openxmlformats.org/officeDocument/2006/relationships/chart" Target="../charts/chart521.xml"/><Relationship Id="rId11" Type="http://schemas.openxmlformats.org/officeDocument/2006/relationships/chart" Target="../charts/chart522.xml"/><Relationship Id="rId12" Type="http://schemas.openxmlformats.org/officeDocument/2006/relationships/chart" Target="../charts/chart523.xml"/><Relationship Id="rId13" Type="http://schemas.openxmlformats.org/officeDocument/2006/relationships/chart" Target="../charts/chart524.xml"/><Relationship Id="rId14" Type="http://schemas.openxmlformats.org/officeDocument/2006/relationships/chart" Target="../charts/chart525.xml"/><Relationship Id="rId15" Type="http://schemas.openxmlformats.org/officeDocument/2006/relationships/chart" Target="../charts/chart526.xml"/><Relationship Id="rId16" Type="http://schemas.openxmlformats.org/officeDocument/2006/relationships/chart" Target="../charts/chart527.xml"/><Relationship Id="rId17" Type="http://schemas.openxmlformats.org/officeDocument/2006/relationships/chart" Target="../charts/chart52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 Id="rId17" Type="http://schemas.openxmlformats.org/officeDocument/2006/relationships/chart" Target="../charts/chart54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1.xml"/><Relationship Id="rId7" Type="http://schemas.openxmlformats.org/officeDocument/2006/relationships/chart" Target="../charts/chart542.xml"/><Relationship Id="rId8" Type="http://schemas.openxmlformats.org/officeDocument/2006/relationships/chart" Target="../charts/chart543.xml"/><Relationship Id="rId9" Type="http://schemas.openxmlformats.org/officeDocument/2006/relationships/chart" Target="../charts/chart544.xml"/><Relationship Id="rId10" Type="http://schemas.openxmlformats.org/officeDocument/2006/relationships/chart" Target="../charts/chart545.xml"/><Relationship Id="rId11" Type="http://schemas.openxmlformats.org/officeDocument/2006/relationships/chart" Target="../charts/chart546.xml"/><Relationship Id="rId12" Type="http://schemas.openxmlformats.org/officeDocument/2006/relationships/chart" Target="../charts/chart547.xml"/><Relationship Id="rId13" Type="http://schemas.openxmlformats.org/officeDocument/2006/relationships/chart" Target="../charts/chart548.xml"/><Relationship Id="rId14" Type="http://schemas.openxmlformats.org/officeDocument/2006/relationships/chart" Target="../charts/chart549.xml"/><Relationship Id="rId15" Type="http://schemas.openxmlformats.org/officeDocument/2006/relationships/chart" Target="../charts/chart550.xml"/><Relationship Id="rId16" Type="http://schemas.openxmlformats.org/officeDocument/2006/relationships/chart" Target="../charts/chart551.xml"/><Relationship Id="rId17" Type="http://schemas.openxmlformats.org/officeDocument/2006/relationships/chart" Target="../charts/chart552.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3.xml"/><Relationship Id="rId7" Type="http://schemas.openxmlformats.org/officeDocument/2006/relationships/chart" Target="../charts/chart554.xml"/><Relationship Id="rId8" Type="http://schemas.openxmlformats.org/officeDocument/2006/relationships/chart" Target="../charts/chart555.xml"/><Relationship Id="rId9" Type="http://schemas.openxmlformats.org/officeDocument/2006/relationships/chart" Target="../charts/chart556.xml"/><Relationship Id="rId10" Type="http://schemas.openxmlformats.org/officeDocument/2006/relationships/chart" Target="../charts/chart557.xml"/><Relationship Id="rId11" Type="http://schemas.openxmlformats.org/officeDocument/2006/relationships/chart" Target="../charts/chart558.xml"/><Relationship Id="rId12" Type="http://schemas.openxmlformats.org/officeDocument/2006/relationships/chart" Target="../charts/chart559.xml"/><Relationship Id="rId13" Type="http://schemas.openxmlformats.org/officeDocument/2006/relationships/chart" Target="../charts/chart560.xml"/><Relationship Id="rId14" Type="http://schemas.openxmlformats.org/officeDocument/2006/relationships/chart" Target="../charts/chart561.xml"/><Relationship Id="rId15" Type="http://schemas.openxmlformats.org/officeDocument/2006/relationships/chart" Target="../charts/chart562.xml"/><Relationship Id="rId16" Type="http://schemas.openxmlformats.org/officeDocument/2006/relationships/chart" Target="../charts/chart563.xml"/><Relationship Id="rId17" Type="http://schemas.openxmlformats.org/officeDocument/2006/relationships/chart" Target="../charts/chart564.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5.xml"/><Relationship Id="rId7" Type="http://schemas.openxmlformats.org/officeDocument/2006/relationships/chart" Target="../charts/chart566.xml"/><Relationship Id="rId8" Type="http://schemas.openxmlformats.org/officeDocument/2006/relationships/chart" Target="../charts/chart567.xml"/><Relationship Id="rId9" Type="http://schemas.openxmlformats.org/officeDocument/2006/relationships/chart" Target="../charts/chart568.xml"/><Relationship Id="rId10" Type="http://schemas.openxmlformats.org/officeDocument/2006/relationships/chart" Target="../charts/chart569.xml"/><Relationship Id="rId11" Type="http://schemas.openxmlformats.org/officeDocument/2006/relationships/chart" Target="../charts/chart570.xml"/><Relationship Id="rId12" Type="http://schemas.openxmlformats.org/officeDocument/2006/relationships/chart" Target="../charts/chart571.xml"/><Relationship Id="rId13" Type="http://schemas.openxmlformats.org/officeDocument/2006/relationships/chart" Target="../charts/chart572.xml"/><Relationship Id="rId14" Type="http://schemas.openxmlformats.org/officeDocument/2006/relationships/chart" Target="../charts/chart573.xml"/><Relationship Id="rId15" Type="http://schemas.openxmlformats.org/officeDocument/2006/relationships/chart" Target="../charts/chart574.xml"/><Relationship Id="rId16" Type="http://schemas.openxmlformats.org/officeDocument/2006/relationships/chart" Target="../charts/chart575.xml"/><Relationship Id="rId17" Type="http://schemas.openxmlformats.org/officeDocument/2006/relationships/chart" Target="../charts/chart576.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124122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901018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998976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518850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146449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716908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6492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496038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9855894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947789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864738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297692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815951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208310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663106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041236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167662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399360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163158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350658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970376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008973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294655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0400673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036349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0571005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315205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905268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159968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012548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145519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012757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552409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807614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807126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824960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473910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22219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405043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423151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147746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090071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644850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222924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570348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337309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2371259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331205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6672</Words>
  <Application>Microsoft Office PowerPoint</Application>
  <PresentationFormat>On-screen Show (16:9)</PresentationFormat>
  <Paragraphs>2016</Paragraphs>
  <Slides>48</Slides>
  <Notes>4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9"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4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